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modernComment_7FE4DEF7_B3617AE5.xml" ContentType="application/vnd.ms-powerpoint.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5" r:id="rId4"/>
  </p:sldMasterIdLst>
  <p:notesMasterIdLst>
    <p:notesMasterId r:id="rId32"/>
  </p:notesMasterIdLst>
  <p:sldIdLst>
    <p:sldId id="256" r:id="rId5"/>
    <p:sldId id="2145705583" r:id="rId6"/>
    <p:sldId id="2145705702" r:id="rId7"/>
    <p:sldId id="2145705719" r:id="rId8"/>
    <p:sldId id="2145705740" r:id="rId9"/>
    <p:sldId id="2145705741" r:id="rId10"/>
    <p:sldId id="2145705734" r:id="rId11"/>
    <p:sldId id="2145705748" r:id="rId12"/>
    <p:sldId id="2145705727" r:id="rId13"/>
    <p:sldId id="2145705742" r:id="rId14"/>
    <p:sldId id="2145705743" r:id="rId15"/>
    <p:sldId id="2145705747" r:id="rId16"/>
    <p:sldId id="2145705736" r:id="rId17"/>
    <p:sldId id="2145705737" r:id="rId18"/>
    <p:sldId id="2145705710" r:id="rId19"/>
    <p:sldId id="2145705738" r:id="rId20"/>
    <p:sldId id="2145705726" r:id="rId21"/>
    <p:sldId id="2145705732" r:id="rId22"/>
    <p:sldId id="2145705728" r:id="rId23"/>
    <p:sldId id="2145705723" r:id="rId24"/>
    <p:sldId id="2145705746" r:id="rId25"/>
    <p:sldId id="2145705745" r:id="rId26"/>
    <p:sldId id="2145705725" r:id="rId27"/>
    <p:sldId id="2145705731" r:id="rId28"/>
    <p:sldId id="2145705724" r:id="rId29"/>
    <p:sldId id="2145705703" r:id="rId30"/>
    <p:sldId id="2145705744" r:id="rId3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pos="218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1B9E0C-1823-9ABF-8D52-FAC168531F6B}" name="Delaney, Megan R. (A&amp;F)" initials="DMR(" userId="S::Megan.R.Delaney2@mass.gov::730d6824-8d60-4eb8-89aa-b1380896617a" providerId="AD"/>
  <p188:author id="{9752AE1A-BD6E-C802-793E-6B450C9BDE1C}" name="Stone, Ben (EOHLC)" initials="S(" userId="S::ben.stone@mass.gov::0f424737-e0a8-485e-8b2b-d868465df3b2" providerId="AD"/>
  <p188:author id="{DDF49221-BD9C-7E7D-BD1D-1FED62A37D93}" name="Simao, Conor (A&amp;F)" initials="S(" userId="S::conor.simao@mass.gov::24a3fdc9-76f9-44a5-9eb3-4d4cffee8da6" providerId="AD"/>
  <p188:author id="{02DF5826-D80F-0AD6-7A68-3C181699E5B1}" name="Marceau, Amelia (A&amp;F)" initials="M(" userId="S::amelia.marceau@mass.gov::6c42bb6f-22e3-476b-a51a-b4799ff4565c" providerId="AD"/>
  <p188:author id="{87268935-4B0D-9DCD-E85C-FDE5BA153150}" name="Rooney, Jake (A&amp;F)" initials="R(" userId="S::jake.rooney@mass.gov::0b895a14-7b0d-4122-bdb6-b61f1a8e0c82" providerId="AD"/>
  <p188:author id="{5BD31E40-FB79-2EFE-E104-927707A0C9B6}" name="Reardon, Timothy (EOHLC)" initials="TR" userId="S::Timothy.Reardon2@mass.gov::31339d56-df5e-429b-974c-d8934eead266" providerId="AD"/>
  <p188:author id="{03BF0441-3D68-6BF3-0FE4-8DAB55A9CE1E}" name="Caljouw, John (A&amp;F)" initials="CJ(" userId="S::john.Caljouw@mass.gov::98f79e61-9be3-4869-99d8-e269d906329f" providerId="AD"/>
  <p188:author id="{80AAC445-F916-5087-4AF0-9E650705E59A}" name="Taronas, Laura (A&amp;F)" initials="T(" userId="S::laura.taronas@mass.gov::e61f96bf-22d5-46a2-8cbd-f483af5681fd" providerId="AD"/>
  <p188:author id="{1470584B-79CF-69EE-322C-2705A162878B}" name="Bryant, Benjamin (EOHLC)" initials="BB(" userId="S::Benjamin.Bryant@mass.gov::d9f20d2d-3d0a-4c4c-bc1c-5d95aab57509" providerId="AD"/>
  <p188:author id="{A531355E-2B15-76AA-81D6-FA6682EA9573}" name="Walsh, Matthew (EOHLC)" initials="WM" userId="S::matthew.walsh@mass.gov::6b9d2727-13b7-4fba-bda7-e67533322e9c" providerId="AD"/>
  <p188:author id="{5D0B106C-19C5-C25D-CC22-1F2C9A8B4A47}" name="Rubin, Roberta (EOHLC)" initials="RR" userId="S::roberta.rubin@mass.gov::2cbd6095-3de4-4e08-a541-e182ee3ba991" providerId="AD"/>
  <p188:author id="{755CA26C-E983-2981-90EC-EECEB853650F}" name="McLaughlin, Gina (EOHLC)" initials="M(" userId="S::gina.mclaughlin@mass.gov::34be0a45-b8e4-4c3b-8f50-cef1dc2b6f0b" providerId="AD"/>
  <p188:author id="{7D38A573-056E-60D3-8E60-1F2A5A13B5D1}" name="Sullivan, Dana C. (ANF)" initials="DCS" userId="Sullivan, Dana C. (ANF)" providerId="None"/>
  <p188:author id="{DD852876-9768-2730-E848-51568AB9C37A}" name="Ricciarelli, Julia (A&amp;F)" initials="R(" userId="S::julia.ricciarelli@mass.gov::22b536b9-b675-40a9-b573-19d5593eb837" providerId="AD"/>
  <p188:author id="{C631F979-F338-EDEB-5F1D-2578B91121E3}" name="Attia, Mark (A&amp;F)" initials="A(" userId="S::mark.attia@mass.gov::4aeb8811-86d4-4fe3-aa7a-edc5a4bee0c3" providerId="AD"/>
  <p188:author id="{DD67527A-C5DA-C6BC-AF98-9F9921C092EE}" name="Walsh, Matthew (EOHLC)" initials="WM(" userId="S::Matthew.Walsh@mass.gov::6b9d2727-13b7-4fba-bda7-e67533322e9c" providerId="AD"/>
  <p188:author id="{4CAE6795-1068-CD6B-6BD3-1F72B1FA07A8}" name="Jesse Kanson-Benanav" initials="JK" userId="S::JesseKanson-Benanav@abundanthousingma.onmicrosoft.com::4cf58c7c-58fa-4e69-a99b-62f500f06064" providerId="AD"/>
  <p188:author id="{4E2B4199-C085-8E73-9EF6-9AFD60BEE019}" name="DeHaven, Carter (A&amp;F)" initials="D(" userId="S::carter.dehaven@mass.gov::481c3a8d-9d64-40e7-8e99-d539b562e513" providerId="AD"/>
  <p188:author id="{36AB639B-E166-9380-9F55-3ED993DE57A1}" name="Barrese, Sarah (EOHLC)" initials="SB" userId="S::Sarah.Barrese2@mass.gov::60d0b564-cec7-47ef-b244-e30e0cfbf4b7" providerId="AD"/>
  <p188:author id="{7F64CD9D-A50E-A048-F989-5748E3F4AF09}" name="Kluchman, Chris (EOHLC)" initials="CK" userId="S::Chris.Kluchman@mass.gov::3b2805cf-7dc0-4105-8ee7-e9f9424f61fe" providerId="AD"/>
  <p188:author id="{E928B0A5-0EEB-7C36-140C-297ACD6F18B2}" name="Tierney, Sean (EOHLC)" initials="ST" userId="S::Sean.Tierney@mass.gov::7a98376c-9b3b-40c3-bb0f-571004252cd9" providerId="AD"/>
  <p188:author id="{557D60B5-E313-7BFF-B708-0D087EF5CC2E}" name="Razzaq, Fatima (EOHLC)" initials="R(" userId="S::fatima.razzaq@mass.gov::cde9a7e3-8673-4b79-b8f3-7056c8fe4543" providerId="AD"/>
  <p188:author id="{250876BA-F1AD-14B1-2976-6B6B94EB1832}" name="Coogan, John (A&amp;F)" initials="CJ(" userId="S::John.Coogan2@mass.gov::9ac26b41-245e-4f87-940c-21856b06aa5b" providerId="AD"/>
  <p188:author id="{C05ABEC0-E5CA-6F31-B971-DD1FDC6FCC51}" name="Zamborlini, Filipe (EOHLC)" initials="FZ" userId="S::Filipe.Zamborlini@mass.gov::d258b38a-e832-4fb6-b534-07694169758c" providerId="AD"/>
  <p188:author id="{B0AB71C7-4937-DC37-7FB2-9EE2B9145795}" name="Tierney, Sean (EOHLC)" initials="TS" userId="S::sean.tierney@mass.gov::7a98376c-9b3b-40c3-bb0f-571004252cd9" providerId="AD"/>
  <p188:author id="{2EFB27D2-5561-7D95-F0B4-D9E809F4A868}" name="Shupin, Eric (EOHLC)" initials="S(" userId="S::eric.shupin@mass.gov::c0128860-9151-4cc9-aba2-fd00b56a7c93" providerId="AD"/>
  <p188:author id="{37A928D6-7D11-640A-825D-EF51D928CA94}" name="Simao, Conor (A&amp;F)" initials="SC(" userId="S::Conor.Simao@mass.gov::24a3fdc9-76f9-44a5-9eb3-4d4cffee8da6" providerId="AD"/>
  <p188:author id="{44063EDF-C9FF-F029-E99B-05E45AD09F2D}" name="Renkert, Sara (A&amp;F)" initials="R(" userId="S::sara.renkert@mass.gov::bbfca1a2-6040-42c4-9130-046d166ca358" providerId="AD"/>
  <p188:author id="{5B6282E4-328C-95C6-0EEE-93E1EB5BFD61}" name="Connors, Kaitlyn (A&amp;F)" initials="CK(" userId="S::Kaitlyn.Connors@mass.gov::40e30303-1c2c-4e3c-8345-7c82e4704ecd" providerId="AD"/>
  <p188:author id="{318524F4-E8AA-09B8-D395-D4B952D3FB85}" name="Christopher Marino" initials="CM" userId="S::Christopher.Marino@mass.gov::6cf04f02-1305-410e-ba8b-a7e1fa5d7de3" providerId="AD"/>
  <p188:author id="{B9E483F5-1E99-AD31-9F70-1FF1F133CDED}" name="DeHaven, Carter (A&amp;F)" initials="CD" userId="S::Carter.DeHaven@mass.gov::481c3a8d-9d64-40e7-8e99-d539b562e513" providerId="AD"/>
  <p188:author id="{874EF8FB-0CE7-0198-341B-19C8688BAF69}" name="Coogan, John (A&amp;F)" initials="C(" userId="S::john.coogan2@mass.gov::9ac26b41-245e-4f87-940c-21856b06aa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ee, Jihae A. (A&amp;F)" initials="LJA(" lastIdx="1" clrIdx="0">
    <p:extLst>
      <p:ext uri="{19B8F6BF-5375-455C-9EA6-DF929625EA0E}">
        <p15:presenceInfo xmlns:p15="http://schemas.microsoft.com/office/powerpoint/2012/main" userId="S::Jihae.A.Lee@mass.gov::f5d32d7f-c765-4fd4-bae8-c6ceadb603e2" providerId="AD"/>
      </p:ext>
    </p:extLst>
  </p:cmAuthor>
  <p:cmAuthor id="2" name="Attia, Mark (A&amp;F)" initials="A(" lastIdx="1" clrIdx="1">
    <p:extLst>
      <p:ext uri="{19B8F6BF-5375-455C-9EA6-DF929625EA0E}">
        <p15:presenceInfo xmlns:p15="http://schemas.microsoft.com/office/powerpoint/2012/main" userId="S::mark.attia@mass.gov::4aeb8811-86d4-4fe3-aa7a-edc5a4bee0c3" providerId="AD"/>
      </p:ext>
    </p:extLst>
  </p:cmAuthor>
  <p:cmAuthor id="3" name="Amanda Lee" initials="AL" lastIdx="1" clrIdx="2">
    <p:extLst>
      <p:ext uri="{19B8F6BF-5375-455C-9EA6-DF929625EA0E}">
        <p15:presenceInfo xmlns:p15="http://schemas.microsoft.com/office/powerpoint/2012/main" userId="S::Amanda.Lee@Jefferies.com::a687420c-f119-4693-8740-1458f753c6f2" providerId="AD"/>
      </p:ext>
    </p:extLst>
  </p:cmAuthor>
  <p:cmAuthor id="4" name="Simao, Conor (A&amp;F)" initials="SC(" lastIdx="6" clrIdx="3">
    <p:extLst>
      <p:ext uri="{19B8F6BF-5375-455C-9EA6-DF929625EA0E}">
        <p15:presenceInfo xmlns:p15="http://schemas.microsoft.com/office/powerpoint/2012/main" userId="S::Conor.Simao@mass.gov::24a3fdc9-76f9-44a5-9eb3-4d4cffee8da6" providerId="AD"/>
      </p:ext>
    </p:extLst>
  </p:cmAuthor>
  <p:cmAuthor id="5" name="Delaney, Megan R. (A&amp;F)" initials="D(" lastIdx="5" clrIdx="4">
    <p:extLst>
      <p:ext uri="{19B8F6BF-5375-455C-9EA6-DF929625EA0E}">
        <p15:presenceInfo xmlns:p15="http://schemas.microsoft.com/office/powerpoint/2012/main" userId="S::megan.r.delaney2@mass.gov::730d6824-8d60-4eb8-89aa-b1380896617a" providerId="AD"/>
      </p:ext>
    </p:extLst>
  </p:cmAuthor>
  <p:cmAuthor id="6" name="Coogan, John (A&amp;F)" initials="C(" lastIdx="2" clrIdx="5">
    <p:extLst>
      <p:ext uri="{19B8F6BF-5375-455C-9EA6-DF929625EA0E}">
        <p15:presenceInfo xmlns:p15="http://schemas.microsoft.com/office/powerpoint/2012/main" userId="S::john.coogan2@mass.gov::9ac26b41-245e-4f87-940c-21856b06aa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558F"/>
    <a:srgbClr val="CCD1DB"/>
    <a:srgbClr val="388557"/>
    <a:srgbClr val="D2ECDC"/>
    <a:srgbClr val="C6EFCE"/>
    <a:srgbClr val="FFC7CE"/>
    <a:srgbClr val="FFEB9C"/>
    <a:srgbClr val="FFFFCC"/>
    <a:srgbClr val="F2F2F2"/>
    <a:srgbClr val="F6C51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B74ABA-BFEA-5040-56E7-29BEE8D3F3A5}" v="9" dt="2025-03-13T18:12:12.9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080"/>
        <p:guide pos="2184"/>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ableStyles" Target="tableStyles.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alsh, Matthew (EOHLC)" userId="S::matthew.walsh@mass.gov::6b9d2727-13b7-4fba-bda7-e67533322e9c" providerId="AD" clId="Web-{341E6271-B0BB-682B-7F5F-762E37FA3204}"/>
    <pc:docChg chg="modSld sldOrd">
      <pc:chgData name="Walsh, Matthew (EOHLC)" userId="S::matthew.walsh@mass.gov::6b9d2727-13b7-4fba-bda7-e67533322e9c" providerId="AD" clId="Web-{341E6271-B0BB-682B-7F5F-762E37FA3204}" dt="2025-02-25T18:36:24.454" v="217" actId="20577"/>
      <pc:docMkLst>
        <pc:docMk/>
      </pc:docMkLst>
      <pc:sldChg chg="modSp">
        <pc:chgData name="Walsh, Matthew (EOHLC)" userId="S::matthew.walsh@mass.gov::6b9d2727-13b7-4fba-bda7-e67533322e9c" providerId="AD" clId="Web-{341E6271-B0BB-682B-7F5F-762E37FA3204}" dt="2025-02-25T18:22:17.689" v="133"/>
        <pc:sldMkLst>
          <pc:docMk/>
          <pc:sldMk cId="2718007075" sldId="2145705583"/>
        </pc:sldMkLst>
        <pc:graphicFrameChg chg="mod modGraphic">
          <ac:chgData name="Walsh, Matthew (EOHLC)" userId="S::matthew.walsh@mass.gov::6b9d2727-13b7-4fba-bda7-e67533322e9c" providerId="AD" clId="Web-{341E6271-B0BB-682B-7F5F-762E37FA3204}" dt="2025-02-25T18:22:17.689" v="133"/>
          <ac:graphicFrameMkLst>
            <pc:docMk/>
            <pc:sldMk cId="2718007075" sldId="2145705583"/>
            <ac:graphicFrameMk id="3" creationId="{5028B61B-25D8-5187-F9E2-429ADA71341A}"/>
          </ac:graphicFrameMkLst>
        </pc:graphicFrameChg>
      </pc:sldChg>
      <pc:sldChg chg="mod ord modShow">
        <pc:chgData name="Walsh, Matthew (EOHLC)" userId="S::matthew.walsh@mass.gov::6b9d2727-13b7-4fba-bda7-e67533322e9c" providerId="AD" clId="Web-{341E6271-B0BB-682B-7F5F-762E37FA3204}" dt="2025-02-25T18:22:42.298" v="136"/>
        <pc:sldMkLst>
          <pc:docMk/>
          <pc:sldMk cId="3936441335" sldId="2145705641"/>
        </pc:sldMkLst>
      </pc:sldChg>
      <pc:sldChg chg="mod ord modShow">
        <pc:chgData name="Walsh, Matthew (EOHLC)" userId="S::matthew.walsh@mass.gov::6b9d2727-13b7-4fba-bda7-e67533322e9c" providerId="AD" clId="Web-{341E6271-B0BB-682B-7F5F-762E37FA3204}" dt="2025-02-25T18:22:56.080" v="137"/>
        <pc:sldMkLst>
          <pc:docMk/>
          <pc:sldMk cId="3009510117" sldId="2145705719"/>
        </pc:sldMkLst>
      </pc:sldChg>
      <pc:sldChg chg="modSp">
        <pc:chgData name="Walsh, Matthew (EOHLC)" userId="S::matthew.walsh@mass.gov::6b9d2727-13b7-4fba-bda7-e67533322e9c" providerId="AD" clId="Web-{341E6271-B0BB-682B-7F5F-762E37FA3204}" dt="2025-02-25T18:36:24.454" v="217" actId="20577"/>
        <pc:sldMkLst>
          <pc:docMk/>
          <pc:sldMk cId="2343967245" sldId="2145705725"/>
        </pc:sldMkLst>
        <pc:spChg chg="mod">
          <ac:chgData name="Walsh, Matthew (EOHLC)" userId="S::matthew.walsh@mass.gov::6b9d2727-13b7-4fba-bda7-e67533322e9c" providerId="AD" clId="Web-{341E6271-B0BB-682B-7F5F-762E37FA3204}" dt="2025-02-25T18:36:24.454" v="217" actId="20577"/>
          <ac:spMkLst>
            <pc:docMk/>
            <pc:sldMk cId="2343967245" sldId="2145705725"/>
            <ac:spMk id="3" creationId="{FD3CEB0C-0EE2-94AD-67D6-7C57FA6A65E4}"/>
          </ac:spMkLst>
        </pc:spChg>
      </pc:sldChg>
    </pc:docChg>
  </pc:docChgLst>
  <pc:docChgLst>
    <pc:chgData name="Bryant, Benjamin (EOHLC)" userId="d9f20d2d-3d0a-4c4c-bc1c-5d95aab57509" providerId="ADAL" clId="{F1C0E673-03E0-44F5-BA20-5CD9E9F1102E}"/>
    <pc:docChg chg="undo custSel delSld modSld sldOrd modNotesMaster">
      <pc:chgData name="Bryant, Benjamin (EOHLC)" userId="d9f20d2d-3d0a-4c4c-bc1c-5d95aab57509" providerId="ADAL" clId="{F1C0E673-03E0-44F5-BA20-5CD9E9F1102E}" dt="2025-03-11T16:38:42.148" v="632" actId="20577"/>
      <pc:docMkLst>
        <pc:docMk/>
      </pc:docMkLst>
      <pc:sldChg chg="modSp mod">
        <pc:chgData name="Bryant, Benjamin (EOHLC)" userId="d9f20d2d-3d0a-4c4c-bc1c-5d95aab57509" providerId="ADAL" clId="{F1C0E673-03E0-44F5-BA20-5CD9E9F1102E}" dt="2025-03-11T16:38:42.148" v="632" actId="20577"/>
        <pc:sldMkLst>
          <pc:docMk/>
          <pc:sldMk cId="2718007075" sldId="2145705583"/>
        </pc:sldMkLst>
        <pc:graphicFrameChg chg="mod modGraphic">
          <ac:chgData name="Bryant, Benjamin (EOHLC)" userId="d9f20d2d-3d0a-4c4c-bc1c-5d95aab57509" providerId="ADAL" clId="{F1C0E673-03E0-44F5-BA20-5CD9E9F1102E}" dt="2025-03-11T16:38:42.148" v="632" actId="20577"/>
          <ac:graphicFrameMkLst>
            <pc:docMk/>
            <pc:sldMk cId="2718007075" sldId="2145705583"/>
            <ac:graphicFrameMk id="3" creationId="{5028B61B-25D8-5187-F9E2-429ADA71341A}"/>
          </ac:graphicFrameMkLst>
        </pc:graphicFrameChg>
      </pc:sldChg>
      <pc:sldChg chg="modSp mod">
        <pc:chgData name="Bryant, Benjamin (EOHLC)" userId="d9f20d2d-3d0a-4c4c-bc1c-5d95aab57509" providerId="ADAL" clId="{F1C0E673-03E0-44F5-BA20-5CD9E9F1102E}" dt="2025-03-06T22:13:42.806" v="508" actId="14100"/>
        <pc:sldMkLst>
          <pc:docMk/>
          <pc:sldMk cId="3685954077" sldId="2145705703"/>
        </pc:sldMkLst>
        <pc:spChg chg="mod">
          <ac:chgData name="Bryant, Benjamin (EOHLC)" userId="d9f20d2d-3d0a-4c4c-bc1c-5d95aab57509" providerId="ADAL" clId="{F1C0E673-03E0-44F5-BA20-5CD9E9F1102E}" dt="2025-03-06T22:13:42.806" v="508" actId="14100"/>
          <ac:spMkLst>
            <pc:docMk/>
            <pc:sldMk cId="3685954077" sldId="2145705703"/>
            <ac:spMk id="6" creationId="{32E9536B-B438-BA12-5D97-CC53279D6DC1}"/>
          </ac:spMkLst>
        </pc:spChg>
      </pc:sldChg>
      <pc:sldChg chg="modSp mod">
        <pc:chgData name="Bryant, Benjamin (EOHLC)" userId="d9f20d2d-3d0a-4c4c-bc1c-5d95aab57509" providerId="ADAL" clId="{F1C0E673-03E0-44F5-BA20-5CD9E9F1102E}" dt="2025-03-11T15:57:26.628" v="561" actId="403"/>
        <pc:sldMkLst>
          <pc:docMk/>
          <pc:sldMk cId="4265882173" sldId="2145705710"/>
        </pc:sldMkLst>
        <pc:spChg chg="mod">
          <ac:chgData name="Bryant, Benjamin (EOHLC)" userId="d9f20d2d-3d0a-4c4c-bc1c-5d95aab57509" providerId="ADAL" clId="{F1C0E673-03E0-44F5-BA20-5CD9E9F1102E}" dt="2025-03-11T15:57:26.628" v="561" actId="403"/>
          <ac:spMkLst>
            <pc:docMk/>
            <pc:sldMk cId="4265882173" sldId="2145705710"/>
            <ac:spMk id="13" creationId="{077656B6-66D1-CE3D-FE73-47C21A53EA1D}"/>
          </ac:spMkLst>
        </pc:spChg>
      </pc:sldChg>
      <pc:sldChg chg="del mod modShow">
        <pc:chgData name="Bryant, Benjamin (EOHLC)" userId="d9f20d2d-3d0a-4c4c-bc1c-5d95aab57509" providerId="ADAL" clId="{F1C0E673-03E0-44F5-BA20-5CD9E9F1102E}" dt="2025-03-10T14:12:43.002" v="546" actId="47"/>
        <pc:sldMkLst>
          <pc:docMk/>
          <pc:sldMk cId="4121987089" sldId="2145705720"/>
        </pc:sldMkLst>
      </pc:sldChg>
      <pc:sldChg chg="modSp mod">
        <pc:chgData name="Bryant, Benjamin (EOHLC)" userId="d9f20d2d-3d0a-4c4c-bc1c-5d95aab57509" providerId="ADAL" clId="{F1C0E673-03E0-44F5-BA20-5CD9E9F1102E}" dt="2025-03-11T15:58:29.924" v="572" actId="403"/>
        <pc:sldMkLst>
          <pc:docMk/>
          <pc:sldMk cId="1576472681" sldId="2145705723"/>
        </pc:sldMkLst>
        <pc:spChg chg="mod">
          <ac:chgData name="Bryant, Benjamin (EOHLC)" userId="d9f20d2d-3d0a-4c4c-bc1c-5d95aab57509" providerId="ADAL" clId="{F1C0E673-03E0-44F5-BA20-5CD9E9F1102E}" dt="2025-03-11T15:58:29.924" v="572" actId="403"/>
          <ac:spMkLst>
            <pc:docMk/>
            <pc:sldMk cId="1576472681" sldId="2145705723"/>
            <ac:spMk id="2" creationId="{DA9B8582-7EC2-7904-9B06-7D6A17C4B93B}"/>
          </ac:spMkLst>
        </pc:spChg>
        <pc:spChg chg="mod">
          <ac:chgData name="Bryant, Benjamin (EOHLC)" userId="d9f20d2d-3d0a-4c4c-bc1c-5d95aab57509" providerId="ADAL" clId="{F1C0E673-03E0-44F5-BA20-5CD9E9F1102E}" dt="2025-03-06T20:28:23.845" v="501" actId="1036"/>
          <ac:spMkLst>
            <pc:docMk/>
            <pc:sldMk cId="1576472681" sldId="2145705723"/>
            <ac:spMk id="3" creationId="{2E4DA4D3-AA7C-08FB-70E1-2389494B2323}"/>
          </ac:spMkLst>
        </pc:spChg>
        <pc:spChg chg="mod">
          <ac:chgData name="Bryant, Benjamin (EOHLC)" userId="d9f20d2d-3d0a-4c4c-bc1c-5d95aab57509" providerId="ADAL" clId="{F1C0E673-03E0-44F5-BA20-5CD9E9F1102E}" dt="2025-03-06T20:28:23.845" v="501" actId="1036"/>
          <ac:spMkLst>
            <pc:docMk/>
            <pc:sldMk cId="1576472681" sldId="2145705723"/>
            <ac:spMk id="5" creationId="{042EC54F-0F80-631C-EC10-B16FC6D3F7A4}"/>
          </ac:spMkLst>
        </pc:spChg>
        <pc:spChg chg="mod">
          <ac:chgData name="Bryant, Benjamin (EOHLC)" userId="d9f20d2d-3d0a-4c4c-bc1c-5d95aab57509" providerId="ADAL" clId="{F1C0E673-03E0-44F5-BA20-5CD9E9F1102E}" dt="2025-03-06T20:28:23.845" v="501" actId="1036"/>
          <ac:spMkLst>
            <pc:docMk/>
            <pc:sldMk cId="1576472681" sldId="2145705723"/>
            <ac:spMk id="7" creationId="{43FDFA8C-4FCA-03D2-C24B-D2C5FB2867A3}"/>
          </ac:spMkLst>
        </pc:spChg>
        <pc:spChg chg="mod">
          <ac:chgData name="Bryant, Benjamin (EOHLC)" userId="d9f20d2d-3d0a-4c4c-bc1c-5d95aab57509" providerId="ADAL" clId="{F1C0E673-03E0-44F5-BA20-5CD9E9F1102E}" dt="2025-03-06T20:28:23.845" v="501" actId="1036"/>
          <ac:spMkLst>
            <pc:docMk/>
            <pc:sldMk cId="1576472681" sldId="2145705723"/>
            <ac:spMk id="8" creationId="{3A85ED2A-56F7-937A-F2D9-1BB40DE9CC7B}"/>
          </ac:spMkLst>
        </pc:spChg>
      </pc:sldChg>
      <pc:sldChg chg="ord">
        <pc:chgData name="Bryant, Benjamin (EOHLC)" userId="d9f20d2d-3d0a-4c4c-bc1c-5d95aab57509" providerId="ADAL" clId="{F1C0E673-03E0-44F5-BA20-5CD9E9F1102E}" dt="2025-03-06T20:12:14.869" v="49"/>
        <pc:sldMkLst>
          <pc:docMk/>
          <pc:sldMk cId="1080336757" sldId="2145705724"/>
        </pc:sldMkLst>
      </pc:sldChg>
      <pc:sldChg chg="modSp mod">
        <pc:chgData name="Bryant, Benjamin (EOHLC)" userId="d9f20d2d-3d0a-4c4c-bc1c-5d95aab57509" providerId="ADAL" clId="{F1C0E673-03E0-44F5-BA20-5CD9E9F1102E}" dt="2025-03-11T15:59:12.695" v="583" actId="20577"/>
        <pc:sldMkLst>
          <pc:docMk/>
          <pc:sldMk cId="2343967245" sldId="2145705725"/>
        </pc:sldMkLst>
        <pc:spChg chg="mod">
          <ac:chgData name="Bryant, Benjamin (EOHLC)" userId="d9f20d2d-3d0a-4c4c-bc1c-5d95aab57509" providerId="ADAL" clId="{F1C0E673-03E0-44F5-BA20-5CD9E9F1102E}" dt="2025-03-11T15:59:12.695" v="583" actId="20577"/>
          <ac:spMkLst>
            <pc:docMk/>
            <pc:sldMk cId="2343967245" sldId="2145705725"/>
            <ac:spMk id="2" creationId="{76F656D5-C655-D8A4-436C-AF982FAC5526}"/>
          </ac:spMkLst>
        </pc:spChg>
        <pc:spChg chg="mod">
          <ac:chgData name="Bryant, Benjamin (EOHLC)" userId="d9f20d2d-3d0a-4c4c-bc1c-5d95aab57509" providerId="ADAL" clId="{F1C0E673-03E0-44F5-BA20-5CD9E9F1102E}" dt="2025-03-06T20:01:49.338" v="45" actId="1076"/>
          <ac:spMkLst>
            <pc:docMk/>
            <pc:sldMk cId="2343967245" sldId="2145705725"/>
            <ac:spMk id="3" creationId="{FD3CEB0C-0EE2-94AD-67D6-7C57FA6A65E4}"/>
          </ac:spMkLst>
        </pc:spChg>
      </pc:sldChg>
      <pc:sldChg chg="modSp mod">
        <pc:chgData name="Bryant, Benjamin (EOHLC)" userId="d9f20d2d-3d0a-4c4c-bc1c-5d95aab57509" providerId="ADAL" clId="{F1C0E673-03E0-44F5-BA20-5CD9E9F1102E}" dt="2025-03-11T15:56:59.132" v="559" actId="403"/>
        <pc:sldMkLst>
          <pc:docMk/>
          <pc:sldMk cId="2404902901" sldId="2145705726"/>
        </pc:sldMkLst>
        <pc:spChg chg="mod">
          <ac:chgData name="Bryant, Benjamin (EOHLC)" userId="d9f20d2d-3d0a-4c4c-bc1c-5d95aab57509" providerId="ADAL" clId="{F1C0E673-03E0-44F5-BA20-5CD9E9F1102E}" dt="2025-03-11T15:56:59.132" v="559" actId="403"/>
          <ac:spMkLst>
            <pc:docMk/>
            <pc:sldMk cId="2404902901" sldId="2145705726"/>
            <ac:spMk id="13" creationId="{0A0C31DB-A890-EB21-96C1-4EEC88FF5C61}"/>
          </ac:spMkLst>
        </pc:spChg>
      </pc:sldChg>
      <pc:sldChg chg="modSp mod">
        <pc:chgData name="Bryant, Benjamin (EOHLC)" userId="d9f20d2d-3d0a-4c4c-bc1c-5d95aab57509" providerId="ADAL" clId="{F1C0E673-03E0-44F5-BA20-5CD9E9F1102E}" dt="2025-03-06T20:23:46.403" v="179" actId="20577"/>
        <pc:sldMkLst>
          <pc:docMk/>
          <pc:sldMk cId="1647754560" sldId="2145705727"/>
        </pc:sldMkLst>
        <pc:spChg chg="mod">
          <ac:chgData name="Bryant, Benjamin (EOHLC)" userId="d9f20d2d-3d0a-4c4c-bc1c-5d95aab57509" providerId="ADAL" clId="{F1C0E673-03E0-44F5-BA20-5CD9E9F1102E}" dt="2025-03-06T20:23:46.403" v="179" actId="20577"/>
          <ac:spMkLst>
            <pc:docMk/>
            <pc:sldMk cId="1647754560" sldId="2145705727"/>
            <ac:spMk id="13" creationId="{612F7973-E5DD-6C07-9A5C-776052CB1DB1}"/>
          </ac:spMkLst>
        </pc:spChg>
      </pc:sldChg>
      <pc:sldChg chg="modSp mod">
        <pc:chgData name="Bryant, Benjamin (EOHLC)" userId="d9f20d2d-3d0a-4c4c-bc1c-5d95aab57509" providerId="ADAL" clId="{F1C0E673-03E0-44F5-BA20-5CD9E9F1102E}" dt="2025-03-11T15:59:18.365" v="593" actId="20577"/>
        <pc:sldMkLst>
          <pc:docMk/>
          <pc:sldMk cId="4211036557" sldId="2145705731"/>
        </pc:sldMkLst>
        <pc:spChg chg="mod">
          <ac:chgData name="Bryant, Benjamin (EOHLC)" userId="d9f20d2d-3d0a-4c4c-bc1c-5d95aab57509" providerId="ADAL" clId="{F1C0E673-03E0-44F5-BA20-5CD9E9F1102E}" dt="2025-03-11T15:59:18.365" v="593" actId="20577"/>
          <ac:spMkLst>
            <pc:docMk/>
            <pc:sldMk cId="4211036557" sldId="2145705731"/>
            <ac:spMk id="2" creationId="{7AD093FD-29A0-619C-3A26-3DCA5D53A6B0}"/>
          </ac:spMkLst>
        </pc:spChg>
        <pc:spChg chg="mod">
          <ac:chgData name="Bryant, Benjamin (EOHLC)" userId="d9f20d2d-3d0a-4c4c-bc1c-5d95aab57509" providerId="ADAL" clId="{F1C0E673-03E0-44F5-BA20-5CD9E9F1102E}" dt="2025-03-06T20:01:30.912" v="39" actId="20577"/>
          <ac:spMkLst>
            <pc:docMk/>
            <pc:sldMk cId="4211036557" sldId="2145705731"/>
            <ac:spMk id="5" creationId="{DEC7B028-D721-4E47-5064-8FA422380651}"/>
          </ac:spMkLst>
        </pc:spChg>
      </pc:sldChg>
      <pc:sldChg chg="addSp modSp mod">
        <pc:chgData name="Bryant, Benjamin (EOHLC)" userId="d9f20d2d-3d0a-4c4c-bc1c-5d95aab57509" providerId="ADAL" clId="{F1C0E673-03E0-44F5-BA20-5CD9E9F1102E}" dt="2025-03-06T20:21:14.451" v="172" actId="14100"/>
        <pc:sldMkLst>
          <pc:docMk/>
          <pc:sldMk cId="1984910784" sldId="2145705732"/>
        </pc:sldMkLst>
        <pc:spChg chg="add mod">
          <ac:chgData name="Bryant, Benjamin (EOHLC)" userId="d9f20d2d-3d0a-4c4c-bc1c-5d95aab57509" providerId="ADAL" clId="{F1C0E673-03E0-44F5-BA20-5CD9E9F1102E}" dt="2025-03-06T20:21:14.451" v="172" actId="14100"/>
          <ac:spMkLst>
            <pc:docMk/>
            <pc:sldMk cId="1984910784" sldId="2145705732"/>
            <ac:spMk id="2" creationId="{A8D64217-E1F0-D52A-05AF-B2A363A50A3A}"/>
          </ac:spMkLst>
        </pc:spChg>
        <pc:picChg chg="mod">
          <ac:chgData name="Bryant, Benjamin (EOHLC)" userId="d9f20d2d-3d0a-4c4c-bc1c-5d95aab57509" providerId="ADAL" clId="{F1C0E673-03E0-44F5-BA20-5CD9E9F1102E}" dt="2025-03-06T20:21:04.863" v="170" actId="1038"/>
          <ac:picMkLst>
            <pc:docMk/>
            <pc:sldMk cId="1984910784" sldId="2145705732"/>
            <ac:picMk id="4" creationId="{C2B039D6-D86C-6379-0692-2DDD36E59A24}"/>
          </ac:picMkLst>
        </pc:picChg>
      </pc:sldChg>
      <pc:sldChg chg="del mod modShow">
        <pc:chgData name="Bryant, Benjamin (EOHLC)" userId="d9f20d2d-3d0a-4c4c-bc1c-5d95aab57509" providerId="ADAL" clId="{F1C0E673-03E0-44F5-BA20-5CD9E9F1102E}" dt="2025-03-10T14:12:43.002" v="546" actId="47"/>
        <pc:sldMkLst>
          <pc:docMk/>
          <pc:sldMk cId="1912954240" sldId="2145705733"/>
        </pc:sldMkLst>
      </pc:sldChg>
      <pc:sldChg chg="modSp mod">
        <pc:chgData name="Bryant, Benjamin (EOHLC)" userId="d9f20d2d-3d0a-4c4c-bc1c-5d95aab57509" providerId="ADAL" clId="{F1C0E673-03E0-44F5-BA20-5CD9E9F1102E}" dt="2025-03-11T15:58:09.754" v="570" actId="403"/>
        <pc:sldMkLst>
          <pc:docMk/>
          <pc:sldMk cId="4013789119" sldId="2145705734"/>
        </pc:sldMkLst>
        <pc:spChg chg="mod">
          <ac:chgData name="Bryant, Benjamin (EOHLC)" userId="d9f20d2d-3d0a-4c4c-bc1c-5d95aab57509" providerId="ADAL" clId="{F1C0E673-03E0-44F5-BA20-5CD9E9F1102E}" dt="2025-03-11T15:58:09.754" v="570" actId="403"/>
          <ac:spMkLst>
            <pc:docMk/>
            <pc:sldMk cId="4013789119" sldId="2145705734"/>
            <ac:spMk id="2" creationId="{43247588-E6DF-6285-AF71-22BB9FB59737}"/>
          </ac:spMkLst>
        </pc:spChg>
      </pc:sldChg>
      <pc:sldChg chg="del">
        <pc:chgData name="Bryant, Benjamin (EOHLC)" userId="d9f20d2d-3d0a-4c4c-bc1c-5d95aab57509" providerId="ADAL" clId="{F1C0E673-03E0-44F5-BA20-5CD9E9F1102E}" dt="2025-03-10T14:11:32.278" v="531" actId="47"/>
        <pc:sldMkLst>
          <pc:docMk/>
          <pc:sldMk cId="3528138603" sldId="2145705735"/>
        </pc:sldMkLst>
      </pc:sldChg>
      <pc:sldChg chg="modSp mod">
        <pc:chgData name="Bryant, Benjamin (EOHLC)" userId="d9f20d2d-3d0a-4c4c-bc1c-5d95aab57509" providerId="ADAL" clId="{F1C0E673-03E0-44F5-BA20-5CD9E9F1102E}" dt="2025-03-11T15:57:43.286" v="565" actId="403"/>
        <pc:sldMkLst>
          <pc:docMk/>
          <pc:sldMk cId="3075566335" sldId="2145705736"/>
        </pc:sldMkLst>
        <pc:spChg chg="mod">
          <ac:chgData name="Bryant, Benjamin (EOHLC)" userId="d9f20d2d-3d0a-4c4c-bc1c-5d95aab57509" providerId="ADAL" clId="{F1C0E673-03E0-44F5-BA20-5CD9E9F1102E}" dt="2025-03-11T15:57:43.286" v="565" actId="403"/>
          <ac:spMkLst>
            <pc:docMk/>
            <pc:sldMk cId="3075566335" sldId="2145705736"/>
            <ac:spMk id="2" creationId="{48F954CA-0E36-63BE-96E5-B42BB7C701E0}"/>
          </ac:spMkLst>
        </pc:spChg>
      </pc:sldChg>
      <pc:sldChg chg="modSp mod">
        <pc:chgData name="Bryant, Benjamin (EOHLC)" userId="d9f20d2d-3d0a-4c4c-bc1c-5d95aab57509" providerId="ADAL" clId="{F1C0E673-03E0-44F5-BA20-5CD9E9F1102E}" dt="2025-03-11T15:57:37.167" v="564" actId="403"/>
        <pc:sldMkLst>
          <pc:docMk/>
          <pc:sldMk cId="2822558639" sldId="2145705737"/>
        </pc:sldMkLst>
        <pc:spChg chg="mod">
          <ac:chgData name="Bryant, Benjamin (EOHLC)" userId="d9f20d2d-3d0a-4c4c-bc1c-5d95aab57509" providerId="ADAL" clId="{F1C0E673-03E0-44F5-BA20-5CD9E9F1102E}" dt="2025-03-11T15:57:37.167" v="564" actId="403"/>
          <ac:spMkLst>
            <pc:docMk/>
            <pc:sldMk cId="2822558639" sldId="2145705737"/>
            <ac:spMk id="2" creationId="{D0EB41BF-0F23-D6DD-D060-B4C6ACAE065E}"/>
          </ac:spMkLst>
        </pc:spChg>
        <pc:spChg chg="mod">
          <ac:chgData name="Bryant, Benjamin (EOHLC)" userId="d9f20d2d-3d0a-4c4c-bc1c-5d95aab57509" providerId="ADAL" clId="{F1C0E673-03E0-44F5-BA20-5CD9E9F1102E}" dt="2025-03-10T14:13:56.055" v="552" actId="1076"/>
          <ac:spMkLst>
            <pc:docMk/>
            <pc:sldMk cId="2822558639" sldId="2145705737"/>
            <ac:spMk id="3" creationId="{0994144B-07D4-0A4A-3229-96F198534B82}"/>
          </ac:spMkLst>
        </pc:spChg>
      </pc:sldChg>
      <pc:sldChg chg="modSp mod">
        <pc:chgData name="Bryant, Benjamin (EOHLC)" userId="d9f20d2d-3d0a-4c4c-bc1c-5d95aab57509" providerId="ADAL" clId="{F1C0E673-03E0-44F5-BA20-5CD9E9F1102E}" dt="2025-03-11T15:57:03.233" v="560" actId="403"/>
        <pc:sldMkLst>
          <pc:docMk/>
          <pc:sldMk cId="1709924489" sldId="2145705738"/>
        </pc:sldMkLst>
        <pc:spChg chg="mod">
          <ac:chgData name="Bryant, Benjamin (EOHLC)" userId="d9f20d2d-3d0a-4c4c-bc1c-5d95aab57509" providerId="ADAL" clId="{F1C0E673-03E0-44F5-BA20-5CD9E9F1102E}" dt="2025-03-11T15:57:03.233" v="560" actId="403"/>
          <ac:spMkLst>
            <pc:docMk/>
            <pc:sldMk cId="1709924489" sldId="2145705738"/>
            <ac:spMk id="2" creationId="{8916460D-0F59-AD21-AC16-796AE6D4BE30}"/>
          </ac:spMkLst>
        </pc:spChg>
        <pc:spChg chg="mod">
          <ac:chgData name="Bryant, Benjamin (EOHLC)" userId="d9f20d2d-3d0a-4c4c-bc1c-5d95aab57509" providerId="ADAL" clId="{F1C0E673-03E0-44F5-BA20-5CD9E9F1102E}" dt="2025-03-10T14:14:14.250" v="556" actId="1076"/>
          <ac:spMkLst>
            <pc:docMk/>
            <pc:sldMk cId="1709924489" sldId="2145705738"/>
            <ac:spMk id="3" creationId="{4782BD86-BEE5-8F00-8E1D-D62745634CA4}"/>
          </ac:spMkLst>
        </pc:spChg>
      </pc:sldChg>
      <pc:sldChg chg="del">
        <pc:chgData name="Bryant, Benjamin (EOHLC)" userId="d9f20d2d-3d0a-4c4c-bc1c-5d95aab57509" providerId="ADAL" clId="{F1C0E673-03E0-44F5-BA20-5CD9E9F1102E}" dt="2025-03-06T20:21:23.555" v="173" actId="47"/>
        <pc:sldMkLst>
          <pc:docMk/>
          <pc:sldMk cId="2702203010" sldId="2145705739"/>
        </pc:sldMkLst>
      </pc:sldChg>
      <pc:sldChg chg="modNotesTx">
        <pc:chgData name="Bryant, Benjamin (EOHLC)" userId="d9f20d2d-3d0a-4c4c-bc1c-5d95aab57509" providerId="ADAL" clId="{F1C0E673-03E0-44F5-BA20-5CD9E9F1102E}" dt="2025-03-06T20:16:58.665" v="57" actId="20577"/>
        <pc:sldMkLst>
          <pc:docMk/>
          <pc:sldMk cId="2566936719" sldId="2145705740"/>
        </pc:sldMkLst>
      </pc:sldChg>
      <pc:sldChg chg="addSp modSp mod">
        <pc:chgData name="Bryant, Benjamin (EOHLC)" userId="d9f20d2d-3d0a-4c4c-bc1c-5d95aab57509" providerId="ADAL" clId="{F1C0E673-03E0-44F5-BA20-5CD9E9F1102E}" dt="2025-03-11T15:58:13.367" v="571" actId="403"/>
        <pc:sldMkLst>
          <pc:docMk/>
          <pc:sldMk cId="4193408303" sldId="2145705741"/>
        </pc:sldMkLst>
        <pc:spChg chg="mod">
          <ac:chgData name="Bryant, Benjamin (EOHLC)" userId="d9f20d2d-3d0a-4c4c-bc1c-5d95aab57509" providerId="ADAL" clId="{F1C0E673-03E0-44F5-BA20-5CD9E9F1102E}" dt="2025-03-11T15:58:13.367" v="571" actId="403"/>
          <ac:spMkLst>
            <pc:docMk/>
            <pc:sldMk cId="4193408303" sldId="2145705741"/>
            <ac:spMk id="2" creationId="{F45DA31B-6B6F-F9CA-61BC-B9E1CD7E6F34}"/>
          </ac:spMkLst>
        </pc:spChg>
        <pc:spChg chg="mod">
          <ac:chgData name="Bryant, Benjamin (EOHLC)" userId="d9f20d2d-3d0a-4c4c-bc1c-5d95aab57509" providerId="ADAL" clId="{F1C0E673-03E0-44F5-BA20-5CD9E9F1102E}" dt="2025-03-06T20:27:56.523" v="482" actId="1035"/>
          <ac:spMkLst>
            <pc:docMk/>
            <pc:sldMk cId="4193408303" sldId="2145705741"/>
            <ac:spMk id="3" creationId="{BE195DF3-1A49-013A-39FB-ED0695D44F69}"/>
          </ac:spMkLst>
        </pc:spChg>
        <pc:spChg chg="add mod">
          <ac:chgData name="Bryant, Benjamin (EOHLC)" userId="d9f20d2d-3d0a-4c4c-bc1c-5d95aab57509" providerId="ADAL" clId="{F1C0E673-03E0-44F5-BA20-5CD9E9F1102E}" dt="2025-03-06T20:27:56.523" v="482" actId="1035"/>
          <ac:spMkLst>
            <pc:docMk/>
            <pc:sldMk cId="4193408303" sldId="2145705741"/>
            <ac:spMk id="5" creationId="{8E0D1143-6860-E437-4582-31381FF25C17}"/>
          </ac:spMkLst>
        </pc:spChg>
      </pc:sldChg>
      <pc:sldChg chg="modSp mod">
        <pc:chgData name="Bryant, Benjamin (EOHLC)" userId="d9f20d2d-3d0a-4c4c-bc1c-5d95aab57509" providerId="ADAL" clId="{F1C0E673-03E0-44F5-BA20-5CD9E9F1102E}" dt="2025-03-11T15:57:57.934" v="568" actId="403"/>
        <pc:sldMkLst>
          <pc:docMk/>
          <pc:sldMk cId="2018921887" sldId="2145705742"/>
        </pc:sldMkLst>
        <pc:spChg chg="mod">
          <ac:chgData name="Bryant, Benjamin (EOHLC)" userId="d9f20d2d-3d0a-4c4c-bc1c-5d95aab57509" providerId="ADAL" clId="{F1C0E673-03E0-44F5-BA20-5CD9E9F1102E}" dt="2025-03-11T15:57:57.934" v="568" actId="403"/>
          <ac:spMkLst>
            <pc:docMk/>
            <pc:sldMk cId="2018921887" sldId="2145705742"/>
            <ac:spMk id="2" creationId="{717CEA8B-AB6D-888E-2520-27BC45AF1EA6}"/>
          </ac:spMkLst>
        </pc:spChg>
        <pc:spChg chg="mod">
          <ac:chgData name="Bryant, Benjamin (EOHLC)" userId="d9f20d2d-3d0a-4c4c-bc1c-5d95aab57509" providerId="ADAL" clId="{F1C0E673-03E0-44F5-BA20-5CD9E9F1102E}" dt="2025-03-10T14:13:46.060" v="551" actId="1076"/>
          <ac:spMkLst>
            <pc:docMk/>
            <pc:sldMk cId="2018921887" sldId="2145705742"/>
            <ac:spMk id="3" creationId="{A8C6FEF2-783A-26B6-192A-9A9F17DEBB7C}"/>
          </ac:spMkLst>
        </pc:spChg>
      </pc:sldChg>
      <pc:sldChg chg="modSp mod">
        <pc:chgData name="Bryant, Benjamin (EOHLC)" userId="d9f20d2d-3d0a-4c4c-bc1c-5d95aab57509" providerId="ADAL" clId="{F1C0E673-03E0-44F5-BA20-5CD9E9F1102E}" dt="2025-03-11T15:57:53.845" v="567" actId="403"/>
        <pc:sldMkLst>
          <pc:docMk/>
          <pc:sldMk cId="537395017" sldId="2145705743"/>
        </pc:sldMkLst>
        <pc:spChg chg="mod">
          <ac:chgData name="Bryant, Benjamin (EOHLC)" userId="d9f20d2d-3d0a-4c4c-bc1c-5d95aab57509" providerId="ADAL" clId="{F1C0E673-03E0-44F5-BA20-5CD9E9F1102E}" dt="2025-03-11T15:57:53.845" v="567" actId="403"/>
          <ac:spMkLst>
            <pc:docMk/>
            <pc:sldMk cId="537395017" sldId="2145705743"/>
            <ac:spMk id="2" creationId="{00A4F6A7-5B39-8C4E-DE4E-1075057A8B0E}"/>
          </ac:spMkLst>
        </pc:spChg>
      </pc:sldChg>
      <pc:sldChg chg="modSp mod">
        <pc:chgData name="Bryant, Benjamin (EOHLC)" userId="d9f20d2d-3d0a-4c4c-bc1c-5d95aab57509" providerId="ADAL" clId="{F1C0E673-03E0-44F5-BA20-5CD9E9F1102E}" dt="2025-03-07T19:06:13.828" v="530" actId="6549"/>
        <pc:sldMkLst>
          <pc:docMk/>
          <pc:sldMk cId="418934407" sldId="2145705744"/>
        </pc:sldMkLst>
        <pc:graphicFrameChg chg="mod modGraphic">
          <ac:chgData name="Bryant, Benjamin (EOHLC)" userId="d9f20d2d-3d0a-4c4c-bc1c-5d95aab57509" providerId="ADAL" clId="{F1C0E673-03E0-44F5-BA20-5CD9E9F1102E}" dt="2025-03-07T19:06:13.828" v="530" actId="6549"/>
          <ac:graphicFrameMkLst>
            <pc:docMk/>
            <pc:sldMk cId="418934407" sldId="2145705744"/>
            <ac:graphicFrameMk id="3" creationId="{4FA84852-A84F-5FDE-9088-2E7AAAE6660B}"/>
          </ac:graphicFrameMkLst>
        </pc:graphicFrameChg>
      </pc:sldChg>
      <pc:sldChg chg="modSp mod">
        <pc:chgData name="Bryant, Benjamin (EOHLC)" userId="d9f20d2d-3d0a-4c4c-bc1c-5d95aab57509" providerId="ADAL" clId="{F1C0E673-03E0-44F5-BA20-5CD9E9F1102E}" dt="2025-03-11T15:58:36.369" v="573" actId="403"/>
        <pc:sldMkLst>
          <pc:docMk/>
          <pc:sldMk cId="3685545330" sldId="2145705745"/>
        </pc:sldMkLst>
        <pc:spChg chg="mod">
          <ac:chgData name="Bryant, Benjamin (EOHLC)" userId="d9f20d2d-3d0a-4c4c-bc1c-5d95aab57509" providerId="ADAL" clId="{F1C0E673-03E0-44F5-BA20-5CD9E9F1102E}" dt="2025-03-11T15:58:36.369" v="573" actId="403"/>
          <ac:spMkLst>
            <pc:docMk/>
            <pc:sldMk cId="3685545330" sldId="2145705745"/>
            <ac:spMk id="2" creationId="{91DF8693-EBD4-D495-0D3C-CD8563295369}"/>
          </ac:spMkLst>
        </pc:spChg>
        <pc:spChg chg="mod">
          <ac:chgData name="Bryant, Benjamin (EOHLC)" userId="d9f20d2d-3d0a-4c4c-bc1c-5d95aab57509" providerId="ADAL" clId="{F1C0E673-03E0-44F5-BA20-5CD9E9F1102E}" dt="2025-03-06T20:01:15.214" v="37" actId="1036"/>
          <ac:spMkLst>
            <pc:docMk/>
            <pc:sldMk cId="3685545330" sldId="2145705745"/>
            <ac:spMk id="3" creationId="{881174BC-53F0-B697-7675-7A4CD487D617}"/>
          </ac:spMkLst>
        </pc:spChg>
      </pc:sldChg>
      <pc:sldChg chg="modSp mod">
        <pc:chgData name="Bryant, Benjamin (EOHLC)" userId="d9f20d2d-3d0a-4c4c-bc1c-5d95aab57509" providerId="ADAL" clId="{F1C0E673-03E0-44F5-BA20-5CD9E9F1102E}" dt="2025-03-11T15:57:47.615" v="566" actId="403"/>
        <pc:sldMkLst>
          <pc:docMk/>
          <pc:sldMk cId="3682032961" sldId="2145705747"/>
        </pc:sldMkLst>
        <pc:spChg chg="mod">
          <ac:chgData name="Bryant, Benjamin (EOHLC)" userId="d9f20d2d-3d0a-4c4c-bc1c-5d95aab57509" providerId="ADAL" clId="{F1C0E673-03E0-44F5-BA20-5CD9E9F1102E}" dt="2025-03-11T15:57:47.615" v="566" actId="403"/>
          <ac:spMkLst>
            <pc:docMk/>
            <pc:sldMk cId="3682032961" sldId="2145705747"/>
            <ac:spMk id="2" creationId="{0EC70DEE-29BA-8700-3352-6C4974E01A5A}"/>
          </ac:spMkLst>
        </pc:spChg>
      </pc:sldChg>
      <pc:sldChg chg="modSp mod">
        <pc:chgData name="Bryant, Benjamin (EOHLC)" userId="d9f20d2d-3d0a-4c4c-bc1c-5d95aab57509" providerId="ADAL" clId="{F1C0E673-03E0-44F5-BA20-5CD9E9F1102E}" dt="2025-03-11T16:01:02.015" v="612" actId="27918"/>
        <pc:sldMkLst>
          <pc:docMk/>
          <pc:sldMk cId="1151582627" sldId="2145705748"/>
        </pc:sldMkLst>
        <pc:spChg chg="mod">
          <ac:chgData name="Bryant, Benjamin (EOHLC)" userId="d9f20d2d-3d0a-4c4c-bc1c-5d95aab57509" providerId="ADAL" clId="{F1C0E673-03E0-44F5-BA20-5CD9E9F1102E}" dt="2025-03-11T15:58:04.770" v="569" actId="403"/>
          <ac:spMkLst>
            <pc:docMk/>
            <pc:sldMk cId="1151582627" sldId="2145705748"/>
            <ac:spMk id="2" creationId="{CF714F61-82D4-68D1-271B-AA99571B6B9D}"/>
          </ac:spMkLst>
        </pc:spChg>
        <pc:graphicFrameChg chg="mod">
          <ac:chgData name="Bryant, Benjamin (EOHLC)" userId="d9f20d2d-3d0a-4c4c-bc1c-5d95aab57509" providerId="ADAL" clId="{F1C0E673-03E0-44F5-BA20-5CD9E9F1102E}" dt="2025-03-11T16:00:36.060" v="610" actId="20577"/>
          <ac:graphicFrameMkLst>
            <pc:docMk/>
            <pc:sldMk cId="1151582627" sldId="2145705748"/>
            <ac:graphicFrameMk id="5" creationId="{862867EF-0B9A-5CFD-F597-4D4A50438AA4}"/>
          </ac:graphicFrameMkLst>
        </pc:graphicFrameChg>
      </pc:sldChg>
    </pc:docChg>
  </pc:docChgLst>
  <pc:docChgLst>
    <pc:chgData name="Walsh, Matthew (EOHLC)" userId="S::matthew.walsh@mass.gov::6b9d2727-13b7-4fba-bda7-e67533322e9c" providerId="AD" clId="Web-{B406CE04-0363-EA3D-BAFD-E49C7F969633}"/>
    <pc:docChg chg="addSld modSld">
      <pc:chgData name="Walsh, Matthew (EOHLC)" userId="S::matthew.walsh@mass.gov::6b9d2727-13b7-4fba-bda7-e67533322e9c" providerId="AD" clId="Web-{B406CE04-0363-EA3D-BAFD-E49C7F969633}" dt="2025-03-05T20:21:59.915" v="123"/>
      <pc:docMkLst>
        <pc:docMk/>
      </pc:docMkLst>
      <pc:sldChg chg="modSp">
        <pc:chgData name="Walsh, Matthew (EOHLC)" userId="S::matthew.walsh@mass.gov::6b9d2727-13b7-4fba-bda7-e67533322e9c" providerId="AD" clId="Web-{B406CE04-0363-EA3D-BAFD-E49C7F969633}" dt="2025-03-05T20:21:59.915" v="123"/>
        <pc:sldMkLst>
          <pc:docMk/>
          <pc:sldMk cId="3685954077" sldId="2145705703"/>
        </pc:sldMkLst>
        <pc:spChg chg="mod">
          <ac:chgData name="Walsh, Matthew (EOHLC)" userId="S::matthew.walsh@mass.gov::6b9d2727-13b7-4fba-bda7-e67533322e9c" providerId="AD" clId="Web-{B406CE04-0363-EA3D-BAFD-E49C7F969633}" dt="2025-03-05T20:21:33.978" v="9" actId="20577"/>
          <ac:spMkLst>
            <pc:docMk/>
            <pc:sldMk cId="3685954077" sldId="2145705703"/>
            <ac:spMk id="2" creationId="{1B4E6A45-616A-9C0E-8C57-64572DA34D11}"/>
          </ac:spMkLst>
        </pc:spChg>
      </pc:sldChg>
      <pc:sldChg chg="add replId">
        <pc:chgData name="Walsh, Matthew (EOHLC)" userId="S::matthew.walsh@mass.gov::6b9d2727-13b7-4fba-bda7-e67533322e9c" providerId="AD" clId="Web-{B406CE04-0363-EA3D-BAFD-E49C7F969633}" dt="2025-03-05T20:21:26.243" v="2"/>
        <pc:sldMkLst>
          <pc:docMk/>
          <pc:sldMk cId="418934407" sldId="2145705744"/>
        </pc:sldMkLst>
      </pc:sldChg>
    </pc:docChg>
  </pc:docChgLst>
  <pc:docChgLst>
    <pc:chgData name="Walsh, Matthew (EOHLC)" userId="S::matthew.walsh@mass.gov::6b9d2727-13b7-4fba-bda7-e67533322e9c" providerId="AD" clId="Web-{F51BB214-F143-1D27-AAB7-5117DE56DE62}"/>
    <pc:docChg chg="modSld">
      <pc:chgData name="Walsh, Matthew (EOHLC)" userId="S::matthew.walsh@mass.gov::6b9d2727-13b7-4fba-bda7-e67533322e9c" providerId="AD" clId="Web-{F51BB214-F143-1D27-AAB7-5117DE56DE62}" dt="2025-03-06T21:01:11.118" v="446" actId="1076"/>
      <pc:docMkLst>
        <pc:docMk/>
      </pc:docMkLst>
      <pc:sldChg chg="modNotes">
        <pc:chgData name="Walsh, Matthew (EOHLC)" userId="S::matthew.walsh@mass.gov::6b9d2727-13b7-4fba-bda7-e67533322e9c" providerId="AD" clId="Web-{F51BB214-F143-1D27-AAB7-5117DE56DE62}" dt="2025-03-06T17:23:35.074" v="32"/>
        <pc:sldMkLst>
          <pc:docMk/>
          <pc:sldMk cId="847511936" sldId="256"/>
        </pc:sldMkLst>
      </pc:sldChg>
      <pc:sldChg chg="modNotes">
        <pc:chgData name="Walsh, Matthew (EOHLC)" userId="S::matthew.walsh@mass.gov::6b9d2727-13b7-4fba-bda7-e67533322e9c" providerId="AD" clId="Web-{F51BB214-F143-1D27-AAB7-5117DE56DE62}" dt="2025-03-06T17:24:08.029" v="41"/>
        <pc:sldMkLst>
          <pc:docMk/>
          <pc:sldMk cId="2718007075" sldId="2145705583"/>
        </pc:sldMkLst>
      </pc:sldChg>
      <pc:sldChg chg="addSp delSp modSp modCm">
        <pc:chgData name="Walsh, Matthew (EOHLC)" userId="S::matthew.walsh@mass.gov::6b9d2727-13b7-4fba-bda7-e67533322e9c" providerId="AD" clId="Web-{F51BB214-F143-1D27-AAB7-5117DE56DE62}" dt="2025-03-06T21:01:11.118" v="446" actId="1076"/>
        <pc:sldMkLst>
          <pc:docMk/>
          <pc:sldMk cId="3685954077" sldId="2145705703"/>
        </pc:sldMkLst>
        <pc:spChg chg="add mod">
          <ac:chgData name="Walsh, Matthew (EOHLC)" userId="S::matthew.walsh@mass.gov::6b9d2727-13b7-4fba-bda7-e67533322e9c" providerId="AD" clId="Web-{F51BB214-F143-1D27-AAB7-5117DE56DE62}" dt="2025-03-06T21:01:11.118" v="446" actId="1076"/>
          <ac:spMkLst>
            <pc:docMk/>
            <pc:sldMk cId="3685954077" sldId="2145705703"/>
            <ac:spMk id="6" creationId="{32E9536B-B438-BA12-5D97-CC53279D6DC1}"/>
          </ac:spMkLst>
        </pc:spChg>
        <pc:extLst>
          <p:ext xmlns:p="http://schemas.openxmlformats.org/presentationml/2006/main" uri="{D6D511B9-2390-475A-947B-AFAB55BFBCF1}">
            <pc226:cmChg xmlns:pc226="http://schemas.microsoft.com/office/powerpoint/2022/06/main/command" chg="mod">
              <pc226:chgData name="Walsh, Matthew (EOHLC)" userId="S::matthew.walsh@mass.gov::6b9d2727-13b7-4fba-bda7-e67533322e9c" providerId="AD" clId="Web-{F51BB214-F143-1D27-AAB7-5117DE56DE62}" dt="2025-03-06T20:57:47.739" v="438" actId="20577"/>
              <pc2:cmMkLst xmlns:pc2="http://schemas.microsoft.com/office/powerpoint/2019/9/main/command">
                <pc:docMk/>
                <pc:sldMk cId="3685954077" sldId="2145705703"/>
                <pc2:cmMk id="{CDAE8B31-B82C-4517-A0CC-A0142367F1F2}"/>
              </pc2:cmMkLst>
            </pc226:cmChg>
          </p:ext>
        </pc:extLst>
      </pc:sldChg>
      <pc:sldChg chg="modSp">
        <pc:chgData name="Walsh, Matthew (EOHLC)" userId="S::matthew.walsh@mass.gov::6b9d2727-13b7-4fba-bda7-e67533322e9c" providerId="AD" clId="Web-{F51BB214-F143-1D27-AAB7-5117DE56DE62}" dt="2025-03-06T17:24:54.375" v="45" actId="20577"/>
        <pc:sldMkLst>
          <pc:docMk/>
          <pc:sldMk cId="1576472681" sldId="2145705723"/>
        </pc:sldMkLst>
        <pc:spChg chg="mod">
          <ac:chgData name="Walsh, Matthew (EOHLC)" userId="S::matthew.walsh@mass.gov::6b9d2727-13b7-4fba-bda7-e67533322e9c" providerId="AD" clId="Web-{F51BB214-F143-1D27-AAB7-5117DE56DE62}" dt="2025-03-06T17:24:54.359" v="44" actId="20577"/>
          <ac:spMkLst>
            <pc:docMk/>
            <pc:sldMk cId="1576472681" sldId="2145705723"/>
            <ac:spMk id="3" creationId="{2E4DA4D3-AA7C-08FB-70E1-2389494B2323}"/>
          </ac:spMkLst>
        </pc:spChg>
        <pc:spChg chg="mod">
          <ac:chgData name="Walsh, Matthew (EOHLC)" userId="S::matthew.walsh@mass.gov::6b9d2727-13b7-4fba-bda7-e67533322e9c" providerId="AD" clId="Web-{F51BB214-F143-1D27-AAB7-5117DE56DE62}" dt="2025-03-06T17:24:54.375" v="45" actId="20577"/>
          <ac:spMkLst>
            <pc:docMk/>
            <pc:sldMk cId="1576472681" sldId="2145705723"/>
            <ac:spMk id="5" creationId="{042EC54F-0F80-631C-EC10-B16FC6D3F7A4}"/>
          </ac:spMkLst>
        </pc:spChg>
        <pc:spChg chg="mod">
          <ac:chgData name="Walsh, Matthew (EOHLC)" userId="S::matthew.walsh@mass.gov::6b9d2727-13b7-4fba-bda7-e67533322e9c" providerId="AD" clId="Web-{F51BB214-F143-1D27-AAB7-5117DE56DE62}" dt="2025-03-06T17:24:54.343" v="43" actId="20577"/>
          <ac:spMkLst>
            <pc:docMk/>
            <pc:sldMk cId="1576472681" sldId="2145705723"/>
            <ac:spMk id="7" creationId="{43FDFA8C-4FCA-03D2-C24B-D2C5FB2867A3}"/>
          </ac:spMkLst>
        </pc:spChg>
        <pc:spChg chg="mod">
          <ac:chgData name="Walsh, Matthew (EOHLC)" userId="S::matthew.walsh@mass.gov::6b9d2727-13b7-4fba-bda7-e67533322e9c" providerId="AD" clId="Web-{F51BB214-F143-1D27-AAB7-5117DE56DE62}" dt="2025-03-06T17:24:54.312" v="42" actId="20577"/>
          <ac:spMkLst>
            <pc:docMk/>
            <pc:sldMk cId="1576472681" sldId="2145705723"/>
            <ac:spMk id="8" creationId="{3A85ED2A-56F7-937A-F2D9-1BB40DE9CC7B}"/>
          </ac:spMkLst>
        </pc:spChg>
      </pc:sldChg>
    </pc:docChg>
  </pc:docChgLst>
  <pc:docChgLst>
    <pc:chgData name="Walsh, Matthew (EOHLC)" userId="S::matthew.walsh@mass.gov::6b9d2727-13b7-4fba-bda7-e67533322e9c" providerId="AD" clId="Web-{02CF7586-0FC7-B893-8441-D1315662E30C}"/>
    <pc:docChg chg="modSld">
      <pc:chgData name="Walsh, Matthew (EOHLC)" userId="S::matthew.walsh@mass.gov::6b9d2727-13b7-4fba-bda7-e67533322e9c" providerId="AD" clId="Web-{02CF7586-0FC7-B893-8441-D1315662E30C}" dt="2025-03-06T20:26:40.826" v="53"/>
      <pc:docMkLst>
        <pc:docMk/>
      </pc:docMkLst>
      <pc:sldChg chg="modSp modCm">
        <pc:chgData name="Walsh, Matthew (EOHLC)" userId="S::matthew.walsh@mass.gov::6b9d2727-13b7-4fba-bda7-e67533322e9c" providerId="AD" clId="Web-{02CF7586-0FC7-B893-8441-D1315662E30C}" dt="2025-03-06T20:19:34.906" v="49"/>
        <pc:sldMkLst>
          <pc:docMk/>
          <pc:sldMk cId="3685954077" sldId="2145705703"/>
        </pc:sldMkLst>
        <pc:extLst>
          <p:ext xmlns:p="http://schemas.openxmlformats.org/presentationml/2006/main" uri="{D6D511B9-2390-475A-947B-AFAB55BFBCF1}">
            <pc226:cmChg xmlns:pc226="http://schemas.microsoft.com/office/powerpoint/2022/06/main/command" chg="mod">
              <pc226:chgData name="Walsh, Matthew (EOHLC)" userId="S::matthew.walsh@mass.gov::6b9d2727-13b7-4fba-bda7-e67533322e9c" providerId="AD" clId="Web-{02CF7586-0FC7-B893-8441-D1315662E30C}" dt="2025-03-06T20:19:34.906" v="48"/>
              <pc2:cmMkLst xmlns:pc2="http://schemas.microsoft.com/office/powerpoint/2019/9/main/command">
                <pc:docMk/>
                <pc:sldMk cId="3685954077" sldId="2145705703"/>
                <pc2:cmMk id="{CDAE8B31-B82C-4517-A0CC-A0142367F1F2}"/>
              </pc2:cmMkLst>
            </pc226:cmChg>
          </p:ext>
        </pc:extLst>
      </pc:sldChg>
      <pc:sldChg chg="modSp">
        <pc:chgData name="Walsh, Matthew (EOHLC)" userId="S::matthew.walsh@mass.gov::6b9d2727-13b7-4fba-bda7-e67533322e9c" providerId="AD" clId="Web-{02CF7586-0FC7-B893-8441-D1315662E30C}" dt="2025-03-06T20:17:56.843" v="7" actId="1076"/>
        <pc:sldMkLst>
          <pc:docMk/>
          <pc:sldMk cId="1576472681" sldId="2145705723"/>
        </pc:sldMkLst>
        <pc:spChg chg="mod">
          <ac:chgData name="Walsh, Matthew (EOHLC)" userId="S::matthew.walsh@mass.gov::6b9d2727-13b7-4fba-bda7-e67533322e9c" providerId="AD" clId="Web-{02CF7586-0FC7-B893-8441-D1315662E30C}" dt="2025-03-06T20:17:56.843" v="6" actId="1076"/>
          <ac:spMkLst>
            <pc:docMk/>
            <pc:sldMk cId="1576472681" sldId="2145705723"/>
            <ac:spMk id="3" creationId="{2E4DA4D3-AA7C-08FB-70E1-2389494B2323}"/>
          </ac:spMkLst>
        </pc:spChg>
        <pc:spChg chg="mod">
          <ac:chgData name="Walsh, Matthew (EOHLC)" userId="S::matthew.walsh@mass.gov::6b9d2727-13b7-4fba-bda7-e67533322e9c" providerId="AD" clId="Web-{02CF7586-0FC7-B893-8441-D1315662E30C}" dt="2025-03-06T20:17:56.843" v="7" actId="1076"/>
          <ac:spMkLst>
            <pc:docMk/>
            <pc:sldMk cId="1576472681" sldId="2145705723"/>
            <ac:spMk id="5" creationId="{042EC54F-0F80-631C-EC10-B16FC6D3F7A4}"/>
          </ac:spMkLst>
        </pc:spChg>
        <pc:spChg chg="mod">
          <ac:chgData name="Walsh, Matthew (EOHLC)" userId="S::matthew.walsh@mass.gov::6b9d2727-13b7-4fba-bda7-e67533322e9c" providerId="AD" clId="Web-{02CF7586-0FC7-B893-8441-D1315662E30C}" dt="2025-03-06T20:17:56.828" v="5" actId="1076"/>
          <ac:spMkLst>
            <pc:docMk/>
            <pc:sldMk cId="1576472681" sldId="2145705723"/>
            <ac:spMk id="7" creationId="{43FDFA8C-4FCA-03D2-C24B-D2C5FB2867A3}"/>
          </ac:spMkLst>
        </pc:spChg>
        <pc:spChg chg="mod">
          <ac:chgData name="Walsh, Matthew (EOHLC)" userId="S::matthew.walsh@mass.gov::6b9d2727-13b7-4fba-bda7-e67533322e9c" providerId="AD" clId="Web-{02CF7586-0FC7-B893-8441-D1315662E30C}" dt="2025-03-06T20:17:56.812" v="4" actId="1076"/>
          <ac:spMkLst>
            <pc:docMk/>
            <pc:sldMk cId="1576472681" sldId="2145705723"/>
            <ac:spMk id="8" creationId="{3A85ED2A-56F7-937A-F2D9-1BB40DE9CC7B}"/>
          </ac:spMkLst>
        </pc:spChg>
      </pc:sldChg>
      <pc:sldChg chg="modSp">
        <pc:chgData name="Walsh, Matthew (EOHLC)" userId="S::matthew.walsh@mass.gov::6b9d2727-13b7-4fba-bda7-e67533322e9c" providerId="AD" clId="Web-{02CF7586-0FC7-B893-8441-D1315662E30C}" dt="2025-03-06T20:19:08.343" v="13" actId="20577"/>
        <pc:sldMkLst>
          <pc:docMk/>
          <pc:sldMk cId="1080336757" sldId="2145705724"/>
        </pc:sldMkLst>
        <pc:spChg chg="mod">
          <ac:chgData name="Walsh, Matthew (EOHLC)" userId="S::matthew.walsh@mass.gov::6b9d2727-13b7-4fba-bda7-e67533322e9c" providerId="AD" clId="Web-{02CF7586-0FC7-B893-8441-D1315662E30C}" dt="2025-03-06T20:19:08.343" v="13" actId="20577"/>
          <ac:spMkLst>
            <pc:docMk/>
            <pc:sldMk cId="1080336757" sldId="2145705724"/>
            <ac:spMk id="4" creationId="{F7DA2812-89F0-9DAD-8ABD-34CB88CE4C67}"/>
          </ac:spMkLst>
        </pc:spChg>
      </pc:sldChg>
      <pc:sldChg chg="modSp mod modShow">
        <pc:chgData name="Walsh, Matthew (EOHLC)" userId="S::matthew.walsh@mass.gov::6b9d2727-13b7-4fba-bda7-e67533322e9c" providerId="AD" clId="Web-{02CF7586-0FC7-B893-8441-D1315662E30C}" dt="2025-03-06T20:26:40.826" v="53"/>
        <pc:sldMkLst>
          <pc:docMk/>
          <pc:sldMk cId="3528138603" sldId="2145705735"/>
        </pc:sldMkLst>
      </pc:sldChg>
    </pc:docChg>
  </pc:docChgLst>
  <pc:docChgLst>
    <pc:chgData name="Walsh, Matthew (EOHLC)" userId="S::matthew.walsh@mass.gov::6b9d2727-13b7-4fba-bda7-e67533322e9c" providerId="AD" clId="Web-{5AF0E740-5BE5-6425-EC83-127DC584A865}"/>
    <pc:docChg chg="modSld">
      <pc:chgData name="Walsh, Matthew (EOHLC)" userId="S::matthew.walsh@mass.gov::6b9d2727-13b7-4fba-bda7-e67533322e9c" providerId="AD" clId="Web-{5AF0E740-5BE5-6425-EC83-127DC584A865}" dt="2025-03-04T14:40:30.728" v="1814"/>
      <pc:docMkLst>
        <pc:docMk/>
      </pc:docMkLst>
      <pc:sldChg chg="modNotes">
        <pc:chgData name="Walsh, Matthew (EOHLC)" userId="S::matthew.walsh@mass.gov::6b9d2727-13b7-4fba-bda7-e67533322e9c" providerId="AD" clId="Web-{5AF0E740-5BE5-6425-EC83-127DC584A865}" dt="2025-03-04T14:13:41.901" v="221"/>
        <pc:sldMkLst>
          <pc:docMk/>
          <pc:sldMk cId="847511936" sldId="256"/>
        </pc:sldMkLst>
      </pc:sldChg>
      <pc:sldChg chg="modNotes">
        <pc:chgData name="Walsh, Matthew (EOHLC)" userId="S::matthew.walsh@mass.gov::6b9d2727-13b7-4fba-bda7-e67533322e9c" providerId="AD" clId="Web-{5AF0E740-5BE5-6425-EC83-127DC584A865}" dt="2025-03-04T14:26:10.556" v="963"/>
        <pc:sldMkLst>
          <pc:docMk/>
          <pc:sldMk cId="2718007075" sldId="2145705583"/>
        </pc:sldMkLst>
      </pc:sldChg>
      <pc:sldChg chg="modNotes">
        <pc:chgData name="Walsh, Matthew (EOHLC)" userId="S::matthew.walsh@mass.gov::6b9d2727-13b7-4fba-bda7-e67533322e9c" providerId="AD" clId="Web-{5AF0E740-5BE5-6425-EC83-127DC584A865}" dt="2025-03-04T14:33:39.118" v="1423"/>
        <pc:sldMkLst>
          <pc:docMk/>
          <pc:sldMk cId="2091034526" sldId="2145705702"/>
        </pc:sldMkLst>
      </pc:sldChg>
      <pc:sldChg chg="modSp modCm modNotes">
        <pc:chgData name="Walsh, Matthew (EOHLC)" userId="S::matthew.walsh@mass.gov::6b9d2727-13b7-4fba-bda7-e67533322e9c" providerId="AD" clId="Web-{5AF0E740-5BE5-6425-EC83-127DC584A865}" dt="2025-03-04T14:40:30.728" v="1814"/>
        <pc:sldMkLst>
          <pc:docMk/>
          <pc:sldMk cId="3685954077" sldId="2145705703"/>
        </pc:sldMkLst>
        <pc:extLst>
          <p:ext xmlns:p="http://schemas.openxmlformats.org/presentationml/2006/main" uri="{D6D511B9-2390-475A-947B-AFAB55BFBCF1}">
            <pc226:cmChg xmlns:pc226="http://schemas.microsoft.com/office/powerpoint/2022/06/main/command" chg="mod">
              <pc226:chgData name="Walsh, Matthew (EOHLC)" userId="S::matthew.walsh@mass.gov::6b9d2727-13b7-4fba-bda7-e67533322e9c" providerId="AD" clId="Web-{5AF0E740-5BE5-6425-EC83-127DC584A865}" dt="2025-03-04T14:39:47.243" v="1801"/>
              <pc2:cmMkLst xmlns:pc2="http://schemas.microsoft.com/office/powerpoint/2019/9/main/command">
                <pc:docMk/>
                <pc:sldMk cId="3685954077" sldId="2145705703"/>
                <pc2:cmMk id="{5E08A310-055F-4CBC-B3CA-D6BBF67AB8FF}"/>
              </pc2:cmMkLst>
            </pc226:cmChg>
          </p:ext>
        </pc:extLst>
      </pc:sldChg>
      <pc:sldChg chg="modNotes">
        <pc:chgData name="Walsh, Matthew (EOHLC)" userId="S::matthew.walsh@mass.gov::6b9d2727-13b7-4fba-bda7-e67533322e9c" providerId="AD" clId="Web-{5AF0E740-5BE5-6425-EC83-127DC584A865}" dt="2025-03-04T14:27:45.744" v="1075"/>
        <pc:sldMkLst>
          <pc:docMk/>
          <pc:sldMk cId="4121987089" sldId="2145705720"/>
        </pc:sldMkLst>
      </pc:sldChg>
      <pc:sldChg chg="modNotes">
        <pc:chgData name="Walsh, Matthew (EOHLC)" userId="S::matthew.walsh@mass.gov::6b9d2727-13b7-4fba-bda7-e67533322e9c" providerId="AD" clId="Web-{5AF0E740-5BE5-6425-EC83-127DC584A865}" dt="2025-03-04T14:37:37.759" v="1689"/>
        <pc:sldMkLst>
          <pc:docMk/>
          <pc:sldMk cId="1080336757" sldId="2145705724"/>
        </pc:sldMkLst>
      </pc:sldChg>
      <pc:sldChg chg="modNotes">
        <pc:chgData name="Walsh, Matthew (EOHLC)" userId="S::matthew.walsh@mass.gov::6b9d2727-13b7-4fba-bda7-e67533322e9c" providerId="AD" clId="Web-{5AF0E740-5BE5-6425-EC83-127DC584A865}" dt="2025-03-04T14:34:48.665" v="1516"/>
        <pc:sldMkLst>
          <pc:docMk/>
          <pc:sldMk cId="112296024" sldId="2145705728"/>
        </pc:sldMkLst>
      </pc:sldChg>
      <pc:sldChg chg="modNotes">
        <pc:chgData name="Walsh, Matthew (EOHLC)" userId="S::matthew.walsh@mass.gov::6b9d2727-13b7-4fba-bda7-e67533322e9c" providerId="AD" clId="Web-{5AF0E740-5BE5-6425-EC83-127DC584A865}" dt="2025-03-04T14:30:20.259" v="1233"/>
        <pc:sldMkLst>
          <pc:docMk/>
          <pc:sldMk cId="2566936719" sldId="2145705740"/>
        </pc:sldMkLst>
      </pc:sldChg>
    </pc:docChg>
  </pc:docChgLst>
  <pc:docChgLst>
    <pc:chgData name="Walsh, Matthew (EOHLC)" userId="S::matthew.walsh@mass.gov::6b9d2727-13b7-4fba-bda7-e67533322e9c" providerId="AD" clId="Web-{053ECE27-BB87-00C2-1638-549A79819492}"/>
    <pc:docChg chg="delSld modSld sldOrd">
      <pc:chgData name="Walsh, Matthew (EOHLC)" userId="S::matthew.walsh@mass.gov::6b9d2727-13b7-4fba-bda7-e67533322e9c" providerId="AD" clId="Web-{053ECE27-BB87-00C2-1638-549A79819492}" dt="2025-02-27T20:26:23.883" v="659"/>
      <pc:docMkLst>
        <pc:docMk/>
      </pc:docMkLst>
      <pc:sldChg chg="modSp">
        <pc:chgData name="Walsh, Matthew (EOHLC)" userId="S::matthew.walsh@mass.gov::6b9d2727-13b7-4fba-bda7-e67533322e9c" providerId="AD" clId="Web-{053ECE27-BB87-00C2-1638-549A79819492}" dt="2025-02-27T20:26:23.883" v="659"/>
        <pc:sldMkLst>
          <pc:docMk/>
          <pc:sldMk cId="2718007075" sldId="2145705583"/>
        </pc:sldMkLst>
        <pc:graphicFrameChg chg="mod modGraphic">
          <ac:chgData name="Walsh, Matthew (EOHLC)" userId="S::matthew.walsh@mass.gov::6b9d2727-13b7-4fba-bda7-e67533322e9c" providerId="AD" clId="Web-{053ECE27-BB87-00C2-1638-549A79819492}" dt="2025-02-27T20:26:23.883" v="659"/>
          <ac:graphicFrameMkLst>
            <pc:docMk/>
            <pc:sldMk cId="2718007075" sldId="2145705583"/>
            <ac:graphicFrameMk id="3" creationId="{5028B61B-25D8-5187-F9E2-429ADA71341A}"/>
          </ac:graphicFrameMkLst>
        </pc:graphicFrameChg>
      </pc:sldChg>
      <pc:sldChg chg="modSp del mod ord modShow">
        <pc:chgData name="Walsh, Matthew (EOHLC)" userId="S::matthew.walsh@mass.gov::6b9d2727-13b7-4fba-bda7-e67533322e9c" providerId="AD" clId="Web-{053ECE27-BB87-00C2-1638-549A79819492}" dt="2025-02-27T20:15:54.781" v="122"/>
        <pc:sldMkLst>
          <pc:docMk/>
          <pc:sldMk cId="3936441335" sldId="2145705641"/>
        </pc:sldMkLst>
      </pc:sldChg>
      <pc:sldChg chg="modSp">
        <pc:chgData name="Walsh, Matthew (EOHLC)" userId="S::matthew.walsh@mass.gov::6b9d2727-13b7-4fba-bda7-e67533322e9c" providerId="AD" clId="Web-{053ECE27-BB87-00C2-1638-549A79819492}" dt="2025-02-27T20:24:43.556" v="565"/>
        <pc:sldMkLst>
          <pc:docMk/>
          <pc:sldMk cId="3685954077" sldId="2145705703"/>
        </pc:sldMkLst>
      </pc:sldChg>
      <pc:sldChg chg="mod ord modShow">
        <pc:chgData name="Walsh, Matthew (EOHLC)" userId="S::matthew.walsh@mass.gov::6b9d2727-13b7-4fba-bda7-e67533322e9c" providerId="AD" clId="Web-{053ECE27-BB87-00C2-1638-549A79819492}" dt="2025-02-27T20:15:48.484" v="121"/>
        <pc:sldMkLst>
          <pc:docMk/>
          <pc:sldMk cId="3009510117" sldId="2145705719"/>
        </pc:sldMkLst>
      </pc:sldChg>
    </pc:docChg>
  </pc:docChgLst>
  <pc:docChgLst>
    <pc:chgData name="Walsh, Matthew (EOHLC)" userId="S::matthew.walsh@mass.gov::6b9d2727-13b7-4fba-bda7-e67533322e9c" providerId="AD" clId="Web-{2C88BA70-28F6-5D27-B374-B2879061819F}"/>
    <pc:docChg chg="modSld">
      <pc:chgData name="Walsh, Matthew (EOHLC)" userId="S::matthew.walsh@mass.gov::6b9d2727-13b7-4fba-bda7-e67533322e9c" providerId="AD" clId="Web-{2C88BA70-28F6-5D27-B374-B2879061819F}" dt="2025-03-11T15:57:32.444" v="13"/>
      <pc:docMkLst>
        <pc:docMk/>
      </pc:docMkLst>
      <pc:sldChg chg="modNotes">
        <pc:chgData name="Walsh, Matthew (EOHLC)" userId="S::matthew.walsh@mass.gov::6b9d2727-13b7-4fba-bda7-e67533322e9c" providerId="AD" clId="Web-{2C88BA70-28F6-5D27-B374-B2879061819F}" dt="2025-03-11T15:57:32.444" v="13"/>
        <pc:sldMkLst>
          <pc:docMk/>
          <pc:sldMk cId="847511936" sldId="256"/>
        </pc:sldMkLst>
      </pc:sldChg>
      <pc:sldChg chg="modNotes">
        <pc:chgData name="Walsh, Matthew (EOHLC)" userId="S::matthew.walsh@mass.gov::6b9d2727-13b7-4fba-bda7-e67533322e9c" providerId="AD" clId="Web-{2C88BA70-28F6-5D27-B374-B2879061819F}" dt="2025-03-11T15:56:02.132" v="4"/>
        <pc:sldMkLst>
          <pc:docMk/>
          <pc:sldMk cId="3009510117" sldId="2145705719"/>
        </pc:sldMkLst>
      </pc:sldChg>
    </pc:docChg>
  </pc:docChgLst>
  <pc:docChgLst>
    <pc:chgData name="Tierney, Sean (EOHLC)" userId="S::sean.tierney@mass.gov::7a98376c-9b3b-40c3-bb0f-571004252cd9" providerId="AD" clId="Web-{6AF0C7FD-4303-92F3-2C8F-820599BD4E0C}"/>
    <pc:docChg chg="mod">
      <pc:chgData name="Tierney, Sean (EOHLC)" userId="S::sean.tierney@mass.gov::7a98376c-9b3b-40c3-bb0f-571004252cd9" providerId="AD" clId="Web-{6AF0C7FD-4303-92F3-2C8F-820599BD4E0C}" dt="2025-02-27T22:28:18.876" v="0"/>
      <pc:docMkLst>
        <pc:docMk/>
      </pc:docMkLst>
    </pc:docChg>
  </pc:docChgLst>
  <pc:docChgLst>
    <pc:chgData name="Walsh, Matthew (EOHLC)" userId="S::matthew.walsh@mass.gov::6b9d2727-13b7-4fba-bda7-e67533322e9c" providerId="AD" clId="Web-{96A87731-81B9-7C77-5817-B60A8BD414B8}"/>
    <pc:docChg chg="addSld modSld sldOrd">
      <pc:chgData name="Walsh, Matthew (EOHLC)" userId="S::matthew.walsh@mass.gov::6b9d2727-13b7-4fba-bda7-e67533322e9c" providerId="AD" clId="Web-{96A87731-81B9-7C77-5817-B60A8BD414B8}" dt="2025-03-06T15:35:35.502" v="1631" actId="20577"/>
      <pc:docMkLst>
        <pc:docMk/>
      </pc:docMkLst>
      <pc:sldChg chg="modSp modCm modNotes">
        <pc:chgData name="Walsh, Matthew (EOHLC)" userId="S::matthew.walsh@mass.gov::6b9d2727-13b7-4fba-bda7-e67533322e9c" providerId="AD" clId="Web-{96A87731-81B9-7C77-5817-B60A8BD414B8}" dt="2025-03-06T14:51:46.301" v="917" actId="1076"/>
        <pc:sldMkLst>
          <pc:docMk/>
          <pc:sldMk cId="3685954077" sldId="2145705703"/>
        </pc:sldMkLst>
        <pc:extLst>
          <p:ext xmlns:p="http://schemas.openxmlformats.org/presentationml/2006/main" uri="{D6D511B9-2390-475A-947B-AFAB55BFBCF1}">
            <pc226:cmChg xmlns:pc226="http://schemas.microsoft.com/office/powerpoint/2022/06/main/command" chg="mod">
              <pc226:chgData name="Walsh, Matthew (EOHLC)" userId="S::matthew.walsh@mass.gov::6b9d2727-13b7-4fba-bda7-e67533322e9c" providerId="AD" clId="Web-{96A87731-81B9-7C77-5817-B60A8BD414B8}" dt="2025-03-06T14:40:15.707" v="489"/>
              <pc2:cmMkLst xmlns:pc2="http://schemas.microsoft.com/office/powerpoint/2019/9/main/command">
                <pc:docMk/>
                <pc:sldMk cId="3685954077" sldId="2145705703"/>
                <pc2:cmMk id="{5E08A310-055F-4CBC-B3CA-D6BBF67AB8FF}"/>
              </pc2:cmMkLst>
            </pc226:cmChg>
            <pc226:cmChg xmlns:pc226="http://schemas.microsoft.com/office/powerpoint/2022/06/main/command" chg="mod">
              <pc226:chgData name="Walsh, Matthew (EOHLC)" userId="S::matthew.walsh@mass.gov::6b9d2727-13b7-4fba-bda7-e67533322e9c" providerId="AD" clId="Web-{96A87731-81B9-7C77-5817-B60A8BD414B8}" dt="2025-03-06T14:40:50.864" v="569"/>
              <pc2:cmMkLst xmlns:pc2="http://schemas.microsoft.com/office/powerpoint/2019/9/main/command">
                <pc:docMk/>
                <pc:sldMk cId="3685954077" sldId="2145705703"/>
                <pc2:cmMk id="{CDAE8B31-B82C-4517-A0CC-A0142367F1F2}"/>
              </pc2:cmMkLst>
            </pc226:cmChg>
          </p:ext>
        </pc:extLst>
      </pc:sldChg>
      <pc:sldChg chg="addSp delSp modSp">
        <pc:chgData name="Walsh, Matthew (EOHLC)" userId="S::matthew.walsh@mass.gov::6b9d2727-13b7-4fba-bda7-e67533322e9c" providerId="AD" clId="Web-{96A87731-81B9-7C77-5817-B60A8BD414B8}" dt="2025-03-06T14:33:38.036" v="108" actId="1076"/>
        <pc:sldMkLst>
          <pc:docMk/>
          <pc:sldMk cId="1576472681" sldId="2145705723"/>
        </pc:sldMkLst>
        <pc:spChg chg="add mod">
          <ac:chgData name="Walsh, Matthew (EOHLC)" userId="S::matthew.walsh@mass.gov::6b9d2727-13b7-4fba-bda7-e67533322e9c" providerId="AD" clId="Web-{96A87731-81B9-7C77-5817-B60A8BD414B8}" dt="2025-03-06T14:32:08.114" v="67" actId="14100"/>
          <ac:spMkLst>
            <pc:docMk/>
            <pc:sldMk cId="1576472681" sldId="2145705723"/>
            <ac:spMk id="3" creationId="{2E4DA4D3-AA7C-08FB-70E1-2389494B2323}"/>
          </ac:spMkLst>
        </pc:spChg>
        <pc:spChg chg="add mod">
          <ac:chgData name="Walsh, Matthew (EOHLC)" userId="S::matthew.walsh@mass.gov::6b9d2727-13b7-4fba-bda7-e67533322e9c" providerId="AD" clId="Web-{96A87731-81B9-7C77-5817-B60A8BD414B8}" dt="2025-03-06T14:33:38.036" v="108" actId="1076"/>
          <ac:spMkLst>
            <pc:docMk/>
            <pc:sldMk cId="1576472681" sldId="2145705723"/>
            <ac:spMk id="5" creationId="{042EC54F-0F80-631C-EC10-B16FC6D3F7A4}"/>
          </ac:spMkLst>
        </pc:spChg>
        <pc:spChg chg="mod">
          <ac:chgData name="Walsh, Matthew (EOHLC)" userId="S::matthew.walsh@mass.gov::6b9d2727-13b7-4fba-bda7-e67533322e9c" providerId="AD" clId="Web-{96A87731-81B9-7C77-5817-B60A8BD414B8}" dt="2025-03-06T14:32:08.067" v="65" actId="14100"/>
          <ac:spMkLst>
            <pc:docMk/>
            <pc:sldMk cId="1576472681" sldId="2145705723"/>
            <ac:spMk id="7" creationId="{43FDFA8C-4FCA-03D2-C24B-D2C5FB2867A3}"/>
          </ac:spMkLst>
        </pc:spChg>
        <pc:spChg chg="mod">
          <ac:chgData name="Walsh, Matthew (EOHLC)" userId="S::matthew.walsh@mass.gov::6b9d2727-13b7-4fba-bda7-e67533322e9c" providerId="AD" clId="Web-{96A87731-81B9-7C77-5817-B60A8BD414B8}" dt="2025-03-06T14:32:08.083" v="66" actId="14100"/>
          <ac:spMkLst>
            <pc:docMk/>
            <pc:sldMk cId="1576472681" sldId="2145705723"/>
            <ac:spMk id="8" creationId="{3A85ED2A-56F7-937A-F2D9-1BB40DE9CC7B}"/>
          </ac:spMkLst>
        </pc:spChg>
      </pc:sldChg>
      <pc:sldChg chg="modNotes">
        <pc:chgData name="Walsh, Matthew (EOHLC)" userId="S::matthew.walsh@mass.gov::6b9d2727-13b7-4fba-bda7-e67533322e9c" providerId="AD" clId="Web-{96A87731-81B9-7C77-5817-B60A8BD414B8}" dt="2025-03-06T14:42:02.661" v="582"/>
        <pc:sldMkLst>
          <pc:docMk/>
          <pc:sldMk cId="1080336757" sldId="2145705724"/>
        </pc:sldMkLst>
      </pc:sldChg>
      <pc:sldChg chg="modNotes">
        <pc:chgData name="Walsh, Matthew (EOHLC)" userId="S::matthew.walsh@mass.gov::6b9d2727-13b7-4fba-bda7-e67533322e9c" providerId="AD" clId="Web-{96A87731-81B9-7C77-5817-B60A8BD414B8}" dt="2025-03-06T14:29:16.677" v="43"/>
        <pc:sldMkLst>
          <pc:docMk/>
          <pc:sldMk cId="112296024" sldId="2145705728"/>
        </pc:sldMkLst>
      </pc:sldChg>
      <pc:sldChg chg="delSp modSp">
        <pc:chgData name="Walsh, Matthew (EOHLC)" userId="S::matthew.walsh@mass.gov::6b9d2727-13b7-4fba-bda7-e67533322e9c" providerId="AD" clId="Web-{96A87731-81B9-7C77-5817-B60A8BD414B8}" dt="2025-03-06T14:51:38.473" v="916" actId="1076"/>
        <pc:sldMkLst>
          <pc:docMk/>
          <pc:sldMk cId="4211036557" sldId="2145705731"/>
        </pc:sldMkLst>
        <pc:spChg chg="mod">
          <ac:chgData name="Walsh, Matthew (EOHLC)" userId="S::matthew.walsh@mass.gov::6b9d2727-13b7-4fba-bda7-e67533322e9c" providerId="AD" clId="Web-{96A87731-81B9-7C77-5817-B60A8BD414B8}" dt="2025-03-06T14:51:38.473" v="916" actId="1076"/>
          <ac:spMkLst>
            <pc:docMk/>
            <pc:sldMk cId="4211036557" sldId="2145705731"/>
            <ac:spMk id="5" creationId="{DEC7B028-D721-4E47-5064-8FA422380651}"/>
          </ac:spMkLst>
        </pc:spChg>
      </pc:sldChg>
      <pc:sldChg chg="modSp">
        <pc:chgData name="Walsh, Matthew (EOHLC)" userId="S::matthew.walsh@mass.gov::6b9d2727-13b7-4fba-bda7-e67533322e9c" providerId="AD" clId="Web-{96A87731-81B9-7C77-5817-B60A8BD414B8}" dt="2025-03-06T14:30:35.098" v="56" actId="20577"/>
        <pc:sldMkLst>
          <pc:docMk/>
          <pc:sldMk cId="1912954240" sldId="2145705733"/>
        </pc:sldMkLst>
      </pc:sldChg>
      <pc:sldChg chg="modSp">
        <pc:chgData name="Walsh, Matthew (EOHLC)" userId="S::matthew.walsh@mass.gov::6b9d2727-13b7-4fba-bda7-e67533322e9c" providerId="AD" clId="Web-{96A87731-81B9-7C77-5817-B60A8BD414B8}" dt="2025-03-06T14:52:04.145" v="925"/>
        <pc:sldMkLst>
          <pc:docMk/>
          <pc:sldMk cId="418934407" sldId="2145705744"/>
        </pc:sldMkLst>
        <pc:graphicFrameChg chg="mod modGraphic">
          <ac:chgData name="Walsh, Matthew (EOHLC)" userId="S::matthew.walsh@mass.gov::6b9d2727-13b7-4fba-bda7-e67533322e9c" providerId="AD" clId="Web-{96A87731-81B9-7C77-5817-B60A8BD414B8}" dt="2025-03-06T14:52:04.145" v="925"/>
          <ac:graphicFrameMkLst>
            <pc:docMk/>
            <pc:sldMk cId="418934407" sldId="2145705744"/>
            <ac:graphicFrameMk id="3" creationId="{4FA84852-A84F-5FDE-9088-2E7AAAE6660B}"/>
          </ac:graphicFrameMkLst>
        </pc:graphicFrameChg>
      </pc:sldChg>
      <pc:sldChg chg="modSp new ord">
        <pc:chgData name="Walsh, Matthew (EOHLC)" userId="S::matthew.walsh@mass.gov::6b9d2727-13b7-4fba-bda7-e67533322e9c" providerId="AD" clId="Web-{96A87731-81B9-7C77-5817-B60A8BD414B8}" dt="2025-03-06T15:35:35.502" v="1631" actId="20577"/>
        <pc:sldMkLst>
          <pc:docMk/>
          <pc:sldMk cId="3685545330" sldId="2145705745"/>
        </pc:sldMkLst>
        <pc:spChg chg="mod">
          <ac:chgData name="Walsh, Matthew (EOHLC)" userId="S::matthew.walsh@mass.gov::6b9d2727-13b7-4fba-bda7-e67533322e9c" providerId="AD" clId="Web-{96A87731-81B9-7C77-5817-B60A8BD414B8}" dt="2025-03-06T14:56:32.457" v="933" actId="20577"/>
          <ac:spMkLst>
            <pc:docMk/>
            <pc:sldMk cId="3685545330" sldId="2145705745"/>
            <ac:spMk id="2" creationId="{91DF8693-EBD4-D495-0D3C-CD8563295369}"/>
          </ac:spMkLst>
        </pc:spChg>
        <pc:spChg chg="mod">
          <ac:chgData name="Walsh, Matthew (EOHLC)" userId="S::matthew.walsh@mass.gov::6b9d2727-13b7-4fba-bda7-e67533322e9c" providerId="AD" clId="Web-{96A87731-81B9-7C77-5817-B60A8BD414B8}" dt="2025-03-06T15:35:35.502" v="1631" actId="20577"/>
          <ac:spMkLst>
            <pc:docMk/>
            <pc:sldMk cId="3685545330" sldId="2145705745"/>
            <ac:spMk id="3" creationId="{881174BC-53F0-B697-7675-7A4CD487D617}"/>
          </ac:spMkLst>
        </pc:spChg>
      </pc:sldChg>
    </pc:docChg>
  </pc:docChgLst>
  <pc:docChgLst>
    <pc:chgData name="Zamborlini, Filipe (EOHLC)" userId="d258b38a-e832-4fb6-b534-07694169758c" providerId="ADAL" clId="{E2DA5BDE-ED6A-4879-8822-485DA3FEB118}"/>
    <pc:docChg chg="undo custSel modSld">
      <pc:chgData name="Zamborlini, Filipe (EOHLC)" userId="d258b38a-e832-4fb6-b534-07694169758c" providerId="ADAL" clId="{E2DA5BDE-ED6A-4879-8822-485DA3FEB118}" dt="2025-03-04T18:17:51.759" v="2723" actId="6549"/>
      <pc:docMkLst>
        <pc:docMk/>
      </pc:docMkLst>
      <pc:sldChg chg="addSp delSp modSp mod modNotesTx">
        <pc:chgData name="Zamborlini, Filipe (EOHLC)" userId="d258b38a-e832-4fb6-b534-07694169758c" providerId="ADAL" clId="{E2DA5BDE-ED6A-4879-8822-485DA3FEB118}" dt="2025-03-04T18:17:51.759" v="2723" actId="6549"/>
        <pc:sldMkLst>
          <pc:docMk/>
          <pc:sldMk cId="1912954240" sldId="2145705733"/>
        </pc:sldMkLst>
      </pc:sldChg>
    </pc:docChg>
  </pc:docChgLst>
  <pc:docChgLst>
    <pc:chgData name="Walsh, Matthew (EOHLC)" userId="S::matthew.walsh@mass.gov::6b9d2727-13b7-4fba-bda7-e67533322e9c" providerId="AD" clId="Web-{3E66DD8E-C890-686F-7A67-6EA13EEC1E5B}"/>
    <pc:docChg chg="addSld delSld modSld">
      <pc:chgData name="Walsh, Matthew (EOHLC)" userId="S::matthew.walsh@mass.gov::6b9d2727-13b7-4fba-bda7-e67533322e9c" providerId="AD" clId="Web-{3E66DD8E-C890-686F-7A67-6EA13EEC1E5B}" dt="2025-02-18T21:00:27.567" v="288"/>
      <pc:docMkLst>
        <pc:docMk/>
      </pc:docMkLst>
      <pc:sldChg chg="modSp">
        <pc:chgData name="Walsh, Matthew (EOHLC)" userId="S::matthew.walsh@mass.gov::6b9d2727-13b7-4fba-bda7-e67533322e9c" providerId="AD" clId="Web-{3E66DD8E-C890-686F-7A67-6EA13EEC1E5B}" dt="2025-02-18T20:59:36.318" v="263"/>
        <pc:sldMkLst>
          <pc:docMk/>
          <pc:sldMk cId="2718007075" sldId="2145705583"/>
        </pc:sldMkLst>
        <pc:graphicFrameChg chg="mod modGraphic">
          <ac:chgData name="Walsh, Matthew (EOHLC)" userId="S::matthew.walsh@mass.gov::6b9d2727-13b7-4fba-bda7-e67533322e9c" providerId="AD" clId="Web-{3E66DD8E-C890-686F-7A67-6EA13EEC1E5B}" dt="2025-02-18T20:59:36.318" v="263"/>
          <ac:graphicFrameMkLst>
            <pc:docMk/>
            <pc:sldMk cId="2718007075" sldId="2145705583"/>
            <ac:graphicFrameMk id="3" creationId="{5028B61B-25D8-5187-F9E2-429ADA71341A}"/>
          </ac:graphicFrameMkLst>
        </pc:graphicFrameChg>
      </pc:sldChg>
      <pc:sldChg chg="modSp">
        <pc:chgData name="Walsh, Matthew (EOHLC)" userId="S::matthew.walsh@mass.gov::6b9d2727-13b7-4fba-bda7-e67533322e9c" providerId="AD" clId="Web-{3E66DD8E-C890-686F-7A67-6EA13EEC1E5B}" dt="2025-02-18T21:00:19.239" v="284" actId="20577"/>
        <pc:sldMkLst>
          <pc:docMk/>
          <pc:sldMk cId="4265882173" sldId="2145705710"/>
        </pc:sldMkLst>
        <pc:spChg chg="mod">
          <ac:chgData name="Walsh, Matthew (EOHLC)" userId="S::matthew.walsh@mass.gov::6b9d2727-13b7-4fba-bda7-e67533322e9c" providerId="AD" clId="Web-{3E66DD8E-C890-686F-7A67-6EA13EEC1E5B}" dt="2025-02-18T21:00:19.239" v="284" actId="20577"/>
          <ac:spMkLst>
            <pc:docMk/>
            <pc:sldMk cId="4265882173" sldId="2145705710"/>
            <ac:spMk id="13" creationId="{077656B6-66D1-CE3D-FE73-47C21A53EA1D}"/>
          </ac:spMkLst>
        </pc:spChg>
      </pc:sldChg>
      <pc:sldChg chg="addSp modSp">
        <pc:chgData name="Walsh, Matthew (EOHLC)" userId="S::matthew.walsh@mass.gov::6b9d2727-13b7-4fba-bda7-e67533322e9c" providerId="AD" clId="Web-{3E66DD8E-C890-686F-7A67-6EA13EEC1E5B}" dt="2025-02-18T20:37:05.509" v="178" actId="20577"/>
        <pc:sldMkLst>
          <pc:docMk/>
          <pc:sldMk cId="3009510117" sldId="2145705719"/>
        </pc:sldMkLst>
        <pc:spChg chg="add mod">
          <ac:chgData name="Walsh, Matthew (EOHLC)" userId="S::matthew.walsh@mass.gov::6b9d2727-13b7-4fba-bda7-e67533322e9c" providerId="AD" clId="Web-{3E66DD8E-C890-686F-7A67-6EA13EEC1E5B}" dt="2025-02-18T20:37:05.509" v="178" actId="20577"/>
          <ac:spMkLst>
            <pc:docMk/>
            <pc:sldMk cId="3009510117" sldId="2145705719"/>
            <ac:spMk id="3" creationId="{61DBD839-C784-C897-BE2C-2C971338278C}"/>
          </ac:spMkLst>
        </pc:spChg>
      </pc:sldChg>
      <pc:sldChg chg="modSp">
        <pc:chgData name="Walsh, Matthew (EOHLC)" userId="S::matthew.walsh@mass.gov::6b9d2727-13b7-4fba-bda7-e67533322e9c" providerId="AD" clId="Web-{3E66DD8E-C890-686F-7A67-6EA13EEC1E5B}" dt="2025-02-18T20:59:54.646" v="273" actId="1076"/>
        <pc:sldMkLst>
          <pc:docMk/>
          <pc:sldMk cId="4121987089" sldId="2145705720"/>
        </pc:sldMkLst>
      </pc:sldChg>
      <pc:sldChg chg="del">
        <pc:chgData name="Walsh, Matthew (EOHLC)" userId="S::matthew.walsh@mass.gov::6b9d2727-13b7-4fba-bda7-e67533322e9c" providerId="AD" clId="Web-{3E66DD8E-C890-686F-7A67-6EA13EEC1E5B}" dt="2025-02-18T21:00:22.114" v="285"/>
        <pc:sldMkLst>
          <pc:docMk/>
          <pc:sldMk cId="810236094" sldId="2145705721"/>
        </pc:sldMkLst>
      </pc:sldChg>
      <pc:sldChg chg="del">
        <pc:chgData name="Walsh, Matthew (EOHLC)" userId="S::matthew.walsh@mass.gov::6b9d2727-13b7-4fba-bda7-e67533322e9c" providerId="AD" clId="Web-{3E66DD8E-C890-686F-7A67-6EA13EEC1E5B}" dt="2025-02-18T21:00:23.802" v="286"/>
        <pc:sldMkLst>
          <pc:docMk/>
          <pc:sldMk cId="4055950617" sldId="2145705722"/>
        </pc:sldMkLst>
      </pc:sldChg>
      <pc:sldChg chg="add replId">
        <pc:chgData name="Walsh, Matthew (EOHLC)" userId="S::matthew.walsh@mass.gov::6b9d2727-13b7-4fba-bda7-e67533322e9c" providerId="AD" clId="Web-{3E66DD8E-C890-686F-7A67-6EA13EEC1E5B}" dt="2025-02-18T21:00:25.567" v="287"/>
        <pc:sldMkLst>
          <pc:docMk/>
          <pc:sldMk cId="2404902901" sldId="2145705726"/>
        </pc:sldMkLst>
      </pc:sldChg>
      <pc:sldChg chg="add replId">
        <pc:chgData name="Walsh, Matthew (EOHLC)" userId="S::matthew.walsh@mass.gov::6b9d2727-13b7-4fba-bda7-e67533322e9c" providerId="AD" clId="Web-{3E66DD8E-C890-686F-7A67-6EA13EEC1E5B}" dt="2025-02-18T21:00:27.567" v="288"/>
        <pc:sldMkLst>
          <pc:docMk/>
          <pc:sldMk cId="1647754560" sldId="2145705727"/>
        </pc:sldMkLst>
      </pc:sldChg>
    </pc:docChg>
  </pc:docChgLst>
  <pc:docChgLst>
    <pc:chgData name="Walsh, Matthew (EOHLC)" userId="S::matthew.walsh@mass.gov::6b9d2727-13b7-4fba-bda7-e67533322e9c" providerId="AD" clId="Web-{E6D3EC3E-1550-4667-3AB9-13F3CE99B071}"/>
    <pc:docChg chg="modSld">
      <pc:chgData name="Walsh, Matthew (EOHLC)" userId="S::matthew.walsh@mass.gov::6b9d2727-13b7-4fba-bda7-e67533322e9c" providerId="AD" clId="Web-{E6D3EC3E-1550-4667-3AB9-13F3CE99B071}" dt="2025-02-26T21:21:50.144" v="19" actId="1076"/>
      <pc:docMkLst>
        <pc:docMk/>
      </pc:docMkLst>
      <pc:sldChg chg="modSp">
        <pc:chgData name="Walsh, Matthew (EOHLC)" userId="S::matthew.walsh@mass.gov::6b9d2727-13b7-4fba-bda7-e67533322e9c" providerId="AD" clId="Web-{E6D3EC3E-1550-4667-3AB9-13F3CE99B071}" dt="2025-02-26T21:20:15.270" v="3" actId="1076"/>
        <pc:sldMkLst>
          <pc:docMk/>
          <pc:sldMk cId="1576472681" sldId="2145705723"/>
        </pc:sldMkLst>
      </pc:sldChg>
      <pc:sldChg chg="modSp">
        <pc:chgData name="Walsh, Matthew (EOHLC)" userId="S::matthew.walsh@mass.gov::6b9d2727-13b7-4fba-bda7-e67533322e9c" providerId="AD" clId="Web-{E6D3EC3E-1550-4667-3AB9-13F3CE99B071}" dt="2025-02-26T21:21:50.144" v="19" actId="1076"/>
        <pc:sldMkLst>
          <pc:docMk/>
          <pc:sldMk cId="4211036557" sldId="2145705731"/>
        </pc:sldMkLst>
        <pc:spChg chg="mod">
          <ac:chgData name="Walsh, Matthew (EOHLC)" userId="S::matthew.walsh@mass.gov::6b9d2727-13b7-4fba-bda7-e67533322e9c" providerId="AD" clId="Web-{E6D3EC3E-1550-4667-3AB9-13F3CE99B071}" dt="2025-02-26T21:21:45.785" v="18" actId="1076"/>
          <ac:spMkLst>
            <pc:docMk/>
            <pc:sldMk cId="4211036557" sldId="2145705731"/>
            <ac:spMk id="5" creationId="{DEC7B028-D721-4E47-5064-8FA422380651}"/>
          </ac:spMkLst>
        </pc:spChg>
      </pc:sldChg>
    </pc:docChg>
  </pc:docChgLst>
  <pc:docChgLst>
    <pc:chgData name="Walsh, Matthew (EOHLC)" userId="S::matthew.walsh@mass.gov::6b9d2727-13b7-4fba-bda7-e67533322e9c" providerId="AD" clId="Web-{D61D2974-0C72-47DF-F820-0681517DAA4D}"/>
    <pc:docChg chg="modSld">
      <pc:chgData name="Walsh, Matthew (EOHLC)" userId="S::matthew.walsh@mass.gov::6b9d2727-13b7-4fba-bda7-e67533322e9c" providerId="AD" clId="Web-{D61D2974-0C72-47DF-F820-0681517DAA4D}" dt="2025-03-04T20:47:21.209" v="608"/>
      <pc:docMkLst>
        <pc:docMk/>
      </pc:docMkLst>
      <pc:sldChg chg="modNotes">
        <pc:chgData name="Walsh, Matthew (EOHLC)" userId="S::matthew.walsh@mass.gov::6b9d2727-13b7-4fba-bda7-e67533322e9c" providerId="AD" clId="Web-{D61D2974-0C72-47DF-F820-0681517DAA4D}" dt="2025-03-04T20:03:29.977" v="1"/>
        <pc:sldMkLst>
          <pc:docMk/>
          <pc:sldMk cId="847511936" sldId="256"/>
        </pc:sldMkLst>
      </pc:sldChg>
      <pc:sldChg chg="modNotes">
        <pc:chgData name="Walsh, Matthew (EOHLC)" userId="S::matthew.walsh@mass.gov::6b9d2727-13b7-4fba-bda7-e67533322e9c" providerId="AD" clId="Web-{D61D2974-0C72-47DF-F820-0681517DAA4D}" dt="2025-03-04T20:32:47.303" v="321"/>
        <pc:sldMkLst>
          <pc:docMk/>
          <pc:sldMk cId="2091034526" sldId="2145705702"/>
        </pc:sldMkLst>
      </pc:sldChg>
      <pc:sldChg chg="modSp">
        <pc:chgData name="Walsh, Matthew (EOHLC)" userId="S::matthew.walsh@mass.gov::6b9d2727-13b7-4fba-bda7-e67533322e9c" providerId="AD" clId="Web-{D61D2974-0C72-47DF-F820-0681517DAA4D}" dt="2025-03-04T20:47:21.209" v="608"/>
        <pc:sldMkLst>
          <pc:docMk/>
          <pc:sldMk cId="3685954077" sldId="2145705703"/>
        </pc:sldMkLst>
      </pc:sldChg>
      <pc:sldChg chg="modNotes">
        <pc:chgData name="Walsh, Matthew (EOHLC)" userId="S::matthew.walsh@mass.gov::6b9d2727-13b7-4fba-bda7-e67533322e9c" providerId="AD" clId="Web-{D61D2974-0C72-47DF-F820-0681517DAA4D}" dt="2025-03-04T20:26:29.741" v="51"/>
        <pc:sldMkLst>
          <pc:docMk/>
          <pc:sldMk cId="3009510117" sldId="2145705719"/>
        </pc:sldMkLst>
      </pc:sldChg>
      <pc:sldChg chg="modNotes">
        <pc:chgData name="Walsh, Matthew (EOHLC)" userId="S::matthew.walsh@mass.gov::6b9d2727-13b7-4fba-bda7-e67533322e9c" providerId="AD" clId="Web-{D61D2974-0C72-47DF-F820-0681517DAA4D}" dt="2025-03-04T20:30:28.741" v="306"/>
        <pc:sldMkLst>
          <pc:docMk/>
          <pc:sldMk cId="1576472681" sldId="2145705723"/>
        </pc:sldMkLst>
      </pc:sldChg>
      <pc:sldChg chg="modNotes">
        <pc:chgData name="Walsh, Matthew (EOHLC)" userId="S::matthew.walsh@mass.gov::6b9d2727-13b7-4fba-bda7-e67533322e9c" providerId="AD" clId="Web-{D61D2974-0C72-47DF-F820-0681517DAA4D}" dt="2025-03-04T20:40:54.709" v="570"/>
        <pc:sldMkLst>
          <pc:docMk/>
          <pc:sldMk cId="1080336757" sldId="2145705724"/>
        </pc:sldMkLst>
      </pc:sldChg>
      <pc:sldChg chg="modNotes">
        <pc:chgData name="Walsh, Matthew (EOHLC)" userId="S::matthew.walsh@mass.gov::6b9d2727-13b7-4fba-bda7-e67533322e9c" providerId="AD" clId="Web-{D61D2974-0C72-47DF-F820-0681517DAA4D}" dt="2025-03-04T20:40:29.116" v="562"/>
        <pc:sldMkLst>
          <pc:docMk/>
          <pc:sldMk cId="112296024" sldId="2145705728"/>
        </pc:sldMkLst>
      </pc:sldChg>
      <pc:sldChg chg="modNotes">
        <pc:chgData name="Walsh, Matthew (EOHLC)" userId="S::matthew.walsh@mass.gov::6b9d2727-13b7-4fba-bda7-e67533322e9c" providerId="AD" clId="Web-{D61D2974-0C72-47DF-F820-0681517DAA4D}" dt="2025-03-04T20:38:19.194" v="468"/>
        <pc:sldMkLst>
          <pc:docMk/>
          <pc:sldMk cId="4211036557" sldId="2145705731"/>
        </pc:sldMkLst>
      </pc:sldChg>
    </pc:docChg>
  </pc:docChgLst>
  <pc:docChgLst>
    <pc:chgData name="Walsh, Matthew (EOHLC)" userId="S::matthew.walsh@mass.gov::6b9d2727-13b7-4fba-bda7-e67533322e9c" providerId="AD" clId="Web-{D812D850-FB35-CD1A-6A0E-3A152AA4E9D2}"/>
    <pc:docChg chg="addSld delSld modSld sldOrd">
      <pc:chgData name="Walsh, Matthew (EOHLC)" userId="S::matthew.walsh@mass.gov::6b9d2727-13b7-4fba-bda7-e67533322e9c" providerId="AD" clId="Web-{D812D850-FB35-CD1A-6A0E-3A152AA4E9D2}" dt="2025-02-18T19:40:43.902" v="1169" actId="1076"/>
      <pc:docMkLst>
        <pc:docMk/>
      </pc:docMkLst>
      <pc:sldChg chg="modSp">
        <pc:chgData name="Walsh, Matthew (EOHLC)" userId="S::matthew.walsh@mass.gov::6b9d2727-13b7-4fba-bda7-e67533322e9c" providerId="AD" clId="Web-{D812D850-FB35-CD1A-6A0E-3A152AA4E9D2}" dt="2025-02-14T20:20:54.280" v="383" actId="20577"/>
        <pc:sldMkLst>
          <pc:docMk/>
          <pc:sldMk cId="847511936" sldId="256"/>
        </pc:sldMkLst>
        <pc:spChg chg="mod">
          <ac:chgData name="Walsh, Matthew (EOHLC)" userId="S::matthew.walsh@mass.gov::6b9d2727-13b7-4fba-bda7-e67533322e9c" providerId="AD" clId="Web-{D812D850-FB35-CD1A-6A0E-3A152AA4E9D2}" dt="2025-02-14T20:20:54.280" v="383" actId="20577"/>
          <ac:spMkLst>
            <pc:docMk/>
            <pc:sldMk cId="847511936" sldId="256"/>
            <ac:spMk id="2" creationId="{14325771-1314-5BF7-7213-1785A2AB17C0}"/>
          </ac:spMkLst>
        </pc:spChg>
        <pc:spChg chg="mod">
          <ac:chgData name="Walsh, Matthew (EOHLC)" userId="S::matthew.walsh@mass.gov::6b9d2727-13b7-4fba-bda7-e67533322e9c" providerId="AD" clId="Web-{D812D850-FB35-CD1A-6A0E-3A152AA4E9D2}" dt="2025-02-14T20:20:45.842" v="382" actId="20577"/>
          <ac:spMkLst>
            <pc:docMk/>
            <pc:sldMk cId="847511936" sldId="256"/>
            <ac:spMk id="4" creationId="{F9D1A61C-8CFC-7695-51FC-A864F0CF7918}"/>
          </ac:spMkLst>
        </pc:spChg>
      </pc:sldChg>
      <pc:sldChg chg="modSp">
        <pc:chgData name="Walsh, Matthew (EOHLC)" userId="S::matthew.walsh@mass.gov::6b9d2727-13b7-4fba-bda7-e67533322e9c" providerId="AD" clId="Web-{D812D850-FB35-CD1A-6A0E-3A152AA4E9D2}" dt="2025-02-14T20:14:20.922" v="94" actId="1076"/>
        <pc:sldMkLst>
          <pc:docMk/>
          <pc:sldMk cId="3936441335" sldId="2145705641"/>
        </pc:sldMkLst>
      </pc:sldChg>
      <pc:sldChg chg="modSp ord">
        <pc:chgData name="Walsh, Matthew (EOHLC)" userId="S::matthew.walsh@mass.gov::6b9d2727-13b7-4fba-bda7-e67533322e9c" providerId="AD" clId="Web-{D812D850-FB35-CD1A-6A0E-3A152AA4E9D2}" dt="2025-02-18T19:40:43.902" v="1169" actId="1076"/>
        <pc:sldMkLst>
          <pc:docMk/>
          <pc:sldMk cId="2091034526" sldId="2145705702"/>
        </pc:sldMkLst>
        <pc:spChg chg="mod">
          <ac:chgData name="Walsh, Matthew (EOHLC)" userId="S::matthew.walsh@mass.gov::6b9d2727-13b7-4fba-bda7-e67533322e9c" providerId="AD" clId="Web-{D812D850-FB35-CD1A-6A0E-3A152AA4E9D2}" dt="2025-02-18T19:40:43.902" v="1169" actId="1076"/>
          <ac:spMkLst>
            <pc:docMk/>
            <pc:sldMk cId="2091034526" sldId="2145705702"/>
            <ac:spMk id="4" creationId="{372202F3-A765-B91A-27D3-4A84739697F9}"/>
          </ac:spMkLst>
        </pc:spChg>
      </pc:sldChg>
      <pc:sldChg chg="modSp">
        <pc:chgData name="Walsh, Matthew (EOHLC)" userId="S::matthew.walsh@mass.gov::6b9d2727-13b7-4fba-bda7-e67533322e9c" providerId="AD" clId="Web-{D812D850-FB35-CD1A-6A0E-3A152AA4E9D2}" dt="2025-02-18T14:02:58.016" v="1025"/>
        <pc:sldMkLst>
          <pc:docMk/>
          <pc:sldMk cId="3685954077" sldId="2145705703"/>
        </pc:sldMkLst>
      </pc:sldChg>
      <pc:sldChg chg="delSp modSp modCm">
        <pc:chgData name="Walsh, Matthew (EOHLC)" userId="S::matthew.walsh@mass.gov::6b9d2727-13b7-4fba-bda7-e67533322e9c" providerId="AD" clId="Web-{D812D850-FB35-CD1A-6A0E-3A152AA4E9D2}" dt="2025-02-14T20:16:20.708" v="137"/>
        <pc:sldMkLst>
          <pc:docMk/>
          <pc:sldMk cId="4265882173" sldId="2145705710"/>
        </pc:sldMkLst>
        <pc:spChg chg="mod">
          <ac:chgData name="Walsh, Matthew (EOHLC)" userId="S::matthew.walsh@mass.gov::6b9d2727-13b7-4fba-bda7-e67533322e9c" providerId="AD" clId="Web-{D812D850-FB35-CD1A-6A0E-3A152AA4E9D2}" dt="2025-02-14T20:16:08.567" v="134" actId="20577"/>
          <ac:spMkLst>
            <pc:docMk/>
            <pc:sldMk cId="4265882173" sldId="2145705710"/>
            <ac:spMk id="13" creationId="{077656B6-66D1-CE3D-FE73-47C21A53EA1D}"/>
          </ac:spMkLst>
        </pc:spChg>
        <pc:extLst>
          <p:ext xmlns:p="http://schemas.openxmlformats.org/presentationml/2006/main" uri="{D6D511B9-2390-475A-947B-AFAB55BFBCF1}">
            <pc226:cmChg xmlns:pc226="http://schemas.microsoft.com/office/powerpoint/2022/06/main/command" chg="mod">
              <pc226:chgData name="Walsh, Matthew (EOHLC)" userId="S::matthew.walsh@mass.gov::6b9d2727-13b7-4fba-bda7-e67533322e9c" providerId="AD" clId="Web-{D812D850-FB35-CD1A-6A0E-3A152AA4E9D2}" dt="2025-02-14T20:16:19.926" v="136" actId="20577"/>
              <pc2:cmMkLst xmlns:pc2="http://schemas.microsoft.com/office/powerpoint/2019/9/main/command">
                <pc:docMk/>
                <pc:sldMk cId="4265882173" sldId="2145705710"/>
                <pc2:cmMk id="{9EBAF91B-91B4-4063-8FA9-B5B0FC33D387}"/>
              </pc2:cmMkLst>
            </pc226:cmChg>
            <pc226:cmChg xmlns:pc226="http://schemas.microsoft.com/office/powerpoint/2022/06/main/command" chg="mod">
              <pc226:chgData name="Walsh, Matthew (EOHLC)" userId="S::matthew.walsh@mass.gov::6b9d2727-13b7-4fba-bda7-e67533322e9c" providerId="AD" clId="Web-{D812D850-FB35-CD1A-6A0E-3A152AA4E9D2}" dt="2025-02-14T20:16:19.926" v="136" actId="20577"/>
              <pc2:cmMkLst xmlns:pc2="http://schemas.microsoft.com/office/powerpoint/2019/9/main/command">
                <pc:docMk/>
                <pc:sldMk cId="4265882173" sldId="2145705710"/>
                <pc2:cmMk id="{95A701D2-EAFD-468D-9CA0-D00805D72778}"/>
              </pc2:cmMkLst>
            </pc226:cmChg>
          </p:ext>
        </pc:extLst>
      </pc:sldChg>
      <pc:sldChg chg="del">
        <pc:chgData name="Walsh, Matthew (EOHLC)" userId="S::matthew.walsh@mass.gov::6b9d2727-13b7-4fba-bda7-e67533322e9c" providerId="AD" clId="Web-{D812D850-FB35-CD1A-6A0E-3A152AA4E9D2}" dt="2025-02-14T20:16:31.630" v="140"/>
        <pc:sldMkLst>
          <pc:docMk/>
          <pc:sldMk cId="3824780268" sldId="2145705711"/>
        </pc:sldMkLst>
      </pc:sldChg>
      <pc:sldChg chg="del">
        <pc:chgData name="Walsh, Matthew (EOHLC)" userId="S::matthew.walsh@mass.gov::6b9d2727-13b7-4fba-bda7-e67533322e9c" providerId="AD" clId="Web-{D812D850-FB35-CD1A-6A0E-3A152AA4E9D2}" dt="2025-02-14T20:13:36.186" v="58"/>
        <pc:sldMkLst>
          <pc:docMk/>
          <pc:sldMk cId="1384839174" sldId="2145705714"/>
        </pc:sldMkLst>
      </pc:sldChg>
      <pc:sldChg chg="del">
        <pc:chgData name="Walsh, Matthew (EOHLC)" userId="S::matthew.walsh@mass.gov::6b9d2727-13b7-4fba-bda7-e67533322e9c" providerId="AD" clId="Web-{D812D850-FB35-CD1A-6A0E-3A152AA4E9D2}" dt="2025-02-14T20:16:34.192" v="141"/>
        <pc:sldMkLst>
          <pc:docMk/>
          <pc:sldMk cId="1113953999" sldId="2145705716"/>
        </pc:sldMkLst>
      </pc:sldChg>
      <pc:sldChg chg="modSp">
        <pc:chgData name="Walsh, Matthew (EOHLC)" userId="S::matthew.walsh@mass.gov::6b9d2727-13b7-4fba-bda7-e67533322e9c" providerId="AD" clId="Web-{D812D850-FB35-CD1A-6A0E-3A152AA4E9D2}" dt="2025-02-18T19:39:42.059" v="1154" actId="20577"/>
        <pc:sldMkLst>
          <pc:docMk/>
          <pc:sldMk cId="4121987089" sldId="2145705720"/>
        </pc:sldMkLst>
      </pc:sldChg>
      <pc:sldChg chg="add replId">
        <pc:chgData name="Walsh, Matthew (EOHLC)" userId="S::matthew.walsh@mass.gov::6b9d2727-13b7-4fba-bda7-e67533322e9c" providerId="AD" clId="Web-{D812D850-FB35-CD1A-6A0E-3A152AA4E9D2}" dt="2025-02-14T20:16:25.317" v="138"/>
        <pc:sldMkLst>
          <pc:docMk/>
          <pc:sldMk cId="810236094" sldId="2145705721"/>
        </pc:sldMkLst>
      </pc:sldChg>
      <pc:sldChg chg="add replId">
        <pc:chgData name="Walsh, Matthew (EOHLC)" userId="S::matthew.walsh@mass.gov::6b9d2727-13b7-4fba-bda7-e67533322e9c" providerId="AD" clId="Web-{D812D850-FB35-CD1A-6A0E-3A152AA4E9D2}" dt="2025-02-14T20:16:27.848" v="139"/>
        <pc:sldMkLst>
          <pc:docMk/>
          <pc:sldMk cId="4055950617" sldId="2145705722"/>
        </pc:sldMkLst>
      </pc:sldChg>
      <pc:sldChg chg="add replId">
        <pc:chgData name="Walsh, Matthew (EOHLC)" userId="S::matthew.walsh@mass.gov::6b9d2727-13b7-4fba-bda7-e67533322e9c" providerId="AD" clId="Web-{D812D850-FB35-CD1A-6A0E-3A152AA4E9D2}" dt="2025-02-18T19:26:52.531" v="1026"/>
        <pc:sldMkLst>
          <pc:docMk/>
          <pc:sldMk cId="1080336757" sldId="2145705724"/>
        </pc:sldMkLst>
      </pc:sldChg>
      <pc:sldChg chg="add replId">
        <pc:chgData name="Walsh, Matthew (EOHLC)" userId="S::matthew.walsh@mass.gov::6b9d2727-13b7-4fba-bda7-e67533322e9c" providerId="AD" clId="Web-{D812D850-FB35-CD1A-6A0E-3A152AA4E9D2}" dt="2025-02-18T19:27:46.859" v="1040"/>
        <pc:sldMkLst>
          <pc:docMk/>
          <pc:sldMk cId="2343967245" sldId="2145705725"/>
        </pc:sldMkLst>
      </pc:sldChg>
    </pc:docChg>
  </pc:docChgLst>
  <pc:docChgLst>
    <pc:chgData name="Reardon, Timothy (EOHLC)" userId="31339d56-df5e-429b-974c-d8934eead266" providerId="ADAL" clId="{8011ED6C-CCA0-484F-9607-702244CC9231}"/>
    <pc:docChg chg="undo redo custSel addSld delSld modSld sldOrd">
      <pc:chgData name="Reardon, Timothy (EOHLC)" userId="31339d56-df5e-429b-974c-d8934eead266" providerId="ADAL" clId="{8011ED6C-CCA0-484F-9607-702244CC9231}" dt="2025-03-11T16:25:52.651" v="6001"/>
      <pc:docMkLst>
        <pc:docMk/>
      </pc:docMkLst>
      <pc:sldChg chg="addSp delSp modSp mod">
        <pc:chgData name="Reardon, Timothy (EOHLC)" userId="31339d56-df5e-429b-974c-d8934eead266" providerId="ADAL" clId="{8011ED6C-CCA0-484F-9607-702244CC9231}" dt="2025-02-25T02:46:40.776" v="22" actId="1076"/>
        <pc:sldMkLst>
          <pc:docMk/>
          <pc:sldMk cId="4265882173" sldId="2145705710"/>
        </pc:sldMkLst>
        <pc:picChg chg="add mod">
          <ac:chgData name="Reardon, Timothy (EOHLC)" userId="31339d56-df5e-429b-974c-d8934eead266" providerId="ADAL" clId="{8011ED6C-CCA0-484F-9607-702244CC9231}" dt="2025-02-25T02:46:40.776" v="22" actId="1076"/>
          <ac:picMkLst>
            <pc:docMk/>
            <pc:sldMk cId="4265882173" sldId="2145705710"/>
            <ac:picMk id="5" creationId="{9B43C012-A503-79CC-4F9D-AC210E6B7FD5}"/>
          </ac:picMkLst>
        </pc:picChg>
      </pc:sldChg>
      <pc:sldChg chg="addSp modSp mod">
        <pc:chgData name="Reardon, Timothy (EOHLC)" userId="31339d56-df5e-429b-974c-d8934eead266" providerId="ADAL" clId="{8011ED6C-CCA0-484F-9607-702244CC9231}" dt="2025-02-26T00:25:14.408" v="3994" actId="20577"/>
        <pc:sldMkLst>
          <pc:docMk/>
          <pc:sldMk cId="2404902901" sldId="2145705726"/>
        </pc:sldMkLst>
        <pc:spChg chg="mod">
          <ac:chgData name="Reardon, Timothy (EOHLC)" userId="31339d56-df5e-429b-974c-d8934eead266" providerId="ADAL" clId="{8011ED6C-CCA0-484F-9607-702244CC9231}" dt="2025-02-26T00:25:14.408" v="3994" actId="20577"/>
          <ac:spMkLst>
            <pc:docMk/>
            <pc:sldMk cId="2404902901" sldId="2145705726"/>
            <ac:spMk id="13" creationId="{0A0C31DB-A890-EB21-96C1-4EEC88FF5C61}"/>
          </ac:spMkLst>
        </pc:spChg>
        <pc:picChg chg="add mod">
          <ac:chgData name="Reardon, Timothy (EOHLC)" userId="31339d56-df5e-429b-974c-d8934eead266" providerId="ADAL" clId="{8011ED6C-CCA0-484F-9607-702244CC9231}" dt="2025-02-25T02:46:32.071" v="20" actId="1076"/>
          <ac:picMkLst>
            <pc:docMk/>
            <pc:sldMk cId="2404902901" sldId="2145705726"/>
            <ac:picMk id="3" creationId="{D002E6F2-452C-FEF6-6236-93AF47AEBD47}"/>
          </ac:picMkLst>
        </pc:picChg>
      </pc:sldChg>
      <pc:sldChg chg="addSp delSp modSp add del mod ord">
        <pc:chgData name="Reardon, Timothy (EOHLC)" userId="31339d56-df5e-429b-974c-d8934eead266" providerId="ADAL" clId="{8011ED6C-CCA0-484F-9607-702244CC9231}" dt="2025-03-11T03:55:59.374" v="5616" actId="20577"/>
        <pc:sldMkLst>
          <pc:docMk/>
          <pc:sldMk cId="1647754560" sldId="2145705727"/>
        </pc:sldMkLst>
        <pc:spChg chg="mod">
          <ac:chgData name="Reardon, Timothy (EOHLC)" userId="31339d56-df5e-429b-974c-d8934eead266" providerId="ADAL" clId="{8011ED6C-CCA0-484F-9607-702244CC9231}" dt="2025-03-11T03:55:59.374" v="5616" actId="20577"/>
          <ac:spMkLst>
            <pc:docMk/>
            <pc:sldMk cId="1647754560" sldId="2145705727"/>
            <ac:spMk id="13" creationId="{612F7973-E5DD-6C07-9A5C-776052CB1DB1}"/>
          </ac:spMkLst>
        </pc:spChg>
      </pc:sldChg>
      <pc:sldChg chg="addSp delSp modSp add mod ord">
        <pc:chgData name="Reardon, Timothy (EOHLC)" userId="31339d56-df5e-429b-974c-d8934eead266" providerId="ADAL" clId="{8011ED6C-CCA0-484F-9607-702244CC9231}" dt="2025-02-25T16:24:18.431" v="3066" actId="20577"/>
        <pc:sldMkLst>
          <pc:docMk/>
          <pc:sldMk cId="1984910784" sldId="2145705732"/>
        </pc:sldMkLst>
        <pc:spChg chg="mod">
          <ac:chgData name="Reardon, Timothy (EOHLC)" userId="31339d56-df5e-429b-974c-d8934eead266" providerId="ADAL" clId="{8011ED6C-CCA0-484F-9607-702244CC9231}" dt="2025-02-25T16:24:18.431" v="3066" actId="20577"/>
          <ac:spMkLst>
            <pc:docMk/>
            <pc:sldMk cId="1984910784" sldId="2145705732"/>
            <ac:spMk id="13" creationId="{E800E009-852C-D032-199C-097E421DE961}"/>
          </ac:spMkLst>
        </pc:spChg>
        <pc:picChg chg="add mod">
          <ac:chgData name="Reardon, Timothy (EOHLC)" userId="31339d56-df5e-429b-974c-d8934eead266" providerId="ADAL" clId="{8011ED6C-CCA0-484F-9607-702244CC9231}" dt="2025-02-25T03:38:40.344" v="32" actId="1076"/>
          <ac:picMkLst>
            <pc:docMk/>
            <pc:sldMk cId="1984910784" sldId="2145705732"/>
            <ac:picMk id="4" creationId="{C2B039D6-D86C-6379-0692-2DDD36E59A24}"/>
          </ac:picMkLst>
        </pc:picChg>
      </pc:sldChg>
      <pc:sldChg chg="modSp new mod ord">
        <pc:chgData name="Reardon, Timothy (EOHLC)" userId="31339d56-df5e-429b-974c-d8934eead266" providerId="ADAL" clId="{8011ED6C-CCA0-484F-9607-702244CC9231}" dt="2025-02-25T15:25:29.944" v="112" actId="313"/>
        <pc:sldMkLst>
          <pc:docMk/>
          <pc:sldMk cId="1912954240" sldId="2145705733"/>
        </pc:sldMkLst>
      </pc:sldChg>
      <pc:sldChg chg="modSp new add del mod ord">
        <pc:chgData name="Reardon, Timothy (EOHLC)" userId="31339d56-df5e-429b-974c-d8934eead266" providerId="ADAL" clId="{8011ED6C-CCA0-484F-9607-702244CC9231}" dt="2025-03-06T18:02:08.147" v="5323" actId="47"/>
        <pc:sldMkLst>
          <pc:docMk/>
          <pc:sldMk cId="4013789119" sldId="2145705734"/>
        </pc:sldMkLst>
      </pc:sldChg>
      <pc:sldChg chg="modSp new mod">
        <pc:chgData name="Reardon, Timothy (EOHLC)" userId="31339d56-df5e-429b-974c-d8934eead266" providerId="ADAL" clId="{8011ED6C-CCA0-484F-9607-702244CC9231}" dt="2025-02-25T15:57:36.730" v="1036" actId="20577"/>
        <pc:sldMkLst>
          <pc:docMk/>
          <pc:sldMk cId="3528138603" sldId="2145705735"/>
        </pc:sldMkLst>
      </pc:sldChg>
      <pc:sldChg chg="addSp delSp modSp add mod">
        <pc:chgData name="Reardon, Timothy (EOHLC)" userId="31339d56-df5e-429b-974c-d8934eead266" providerId="ADAL" clId="{8011ED6C-CCA0-484F-9607-702244CC9231}" dt="2025-03-10T20:53:09.214" v="5329" actId="1076"/>
        <pc:sldMkLst>
          <pc:docMk/>
          <pc:sldMk cId="3075566335" sldId="2145705736"/>
        </pc:sldMkLst>
        <pc:spChg chg="mod">
          <ac:chgData name="Reardon, Timothy (EOHLC)" userId="31339d56-df5e-429b-974c-d8934eead266" providerId="ADAL" clId="{8011ED6C-CCA0-484F-9607-702244CC9231}" dt="2025-02-27T01:34:19.110" v="4065" actId="20577"/>
          <ac:spMkLst>
            <pc:docMk/>
            <pc:sldMk cId="3075566335" sldId="2145705736"/>
            <ac:spMk id="2" creationId="{48F954CA-0E36-63BE-96E5-B42BB7C701E0}"/>
          </ac:spMkLst>
        </pc:spChg>
        <pc:picChg chg="add mod">
          <ac:chgData name="Reardon, Timothy (EOHLC)" userId="31339d56-df5e-429b-974c-d8934eead266" providerId="ADAL" clId="{8011ED6C-CCA0-484F-9607-702244CC9231}" dt="2025-03-10T20:53:09.214" v="5329" actId="1076"/>
          <ac:picMkLst>
            <pc:docMk/>
            <pc:sldMk cId="3075566335" sldId="2145705736"/>
            <ac:picMk id="4" creationId="{CB952C52-B0B4-0978-345D-906D0E740453}"/>
          </ac:picMkLst>
        </pc:picChg>
        <pc:picChg chg="add del mod">
          <ac:chgData name="Reardon, Timothy (EOHLC)" userId="31339d56-df5e-429b-974c-d8934eead266" providerId="ADAL" clId="{8011ED6C-CCA0-484F-9607-702244CC9231}" dt="2025-03-10T20:52:39.897" v="5324" actId="478"/>
          <ac:picMkLst>
            <pc:docMk/>
            <pc:sldMk cId="3075566335" sldId="2145705736"/>
            <ac:picMk id="5" creationId="{C26865CC-A34E-EF9D-0EE2-984F0F15C7E6}"/>
          </ac:picMkLst>
        </pc:picChg>
      </pc:sldChg>
      <pc:sldChg chg="modSp add mod">
        <pc:chgData name="Reardon, Timothy (EOHLC)" userId="31339d56-df5e-429b-974c-d8934eead266" providerId="ADAL" clId="{8011ED6C-CCA0-484F-9607-702244CC9231}" dt="2025-02-25T16:05:43.483" v="1204" actId="20577"/>
        <pc:sldMkLst>
          <pc:docMk/>
          <pc:sldMk cId="2822558639" sldId="2145705737"/>
        </pc:sldMkLst>
        <pc:spChg chg="mod">
          <ac:chgData name="Reardon, Timothy (EOHLC)" userId="31339d56-df5e-429b-974c-d8934eead266" providerId="ADAL" clId="{8011ED6C-CCA0-484F-9607-702244CC9231}" dt="2025-02-25T15:58:43.062" v="1059" actId="20577"/>
          <ac:spMkLst>
            <pc:docMk/>
            <pc:sldMk cId="2822558639" sldId="2145705737"/>
            <ac:spMk id="2" creationId="{D0EB41BF-0F23-D6DD-D060-B4C6ACAE065E}"/>
          </ac:spMkLst>
        </pc:spChg>
        <pc:spChg chg="mod">
          <ac:chgData name="Reardon, Timothy (EOHLC)" userId="31339d56-df5e-429b-974c-d8934eead266" providerId="ADAL" clId="{8011ED6C-CCA0-484F-9607-702244CC9231}" dt="2025-02-25T16:05:43.483" v="1204" actId="20577"/>
          <ac:spMkLst>
            <pc:docMk/>
            <pc:sldMk cId="2822558639" sldId="2145705737"/>
            <ac:spMk id="3" creationId="{0994144B-07D4-0A4A-3229-96F198534B82}"/>
          </ac:spMkLst>
        </pc:spChg>
      </pc:sldChg>
      <pc:sldChg chg="modSp add mod ord">
        <pc:chgData name="Reardon, Timothy (EOHLC)" userId="31339d56-df5e-429b-974c-d8934eead266" providerId="ADAL" clId="{8011ED6C-CCA0-484F-9607-702244CC9231}" dt="2025-02-25T16:19:01.564" v="2480" actId="20577"/>
        <pc:sldMkLst>
          <pc:docMk/>
          <pc:sldMk cId="1709924489" sldId="2145705738"/>
        </pc:sldMkLst>
        <pc:spChg chg="mod">
          <ac:chgData name="Reardon, Timothy (EOHLC)" userId="31339d56-df5e-429b-974c-d8934eead266" providerId="ADAL" clId="{8011ED6C-CCA0-484F-9607-702244CC9231}" dt="2025-02-25T16:07:02.936" v="1219" actId="20577"/>
          <ac:spMkLst>
            <pc:docMk/>
            <pc:sldMk cId="1709924489" sldId="2145705738"/>
            <ac:spMk id="2" creationId="{8916460D-0F59-AD21-AC16-796AE6D4BE30}"/>
          </ac:spMkLst>
        </pc:spChg>
        <pc:spChg chg="mod">
          <ac:chgData name="Reardon, Timothy (EOHLC)" userId="31339d56-df5e-429b-974c-d8934eead266" providerId="ADAL" clId="{8011ED6C-CCA0-484F-9607-702244CC9231}" dt="2025-02-25T16:19:01.564" v="2480" actId="20577"/>
          <ac:spMkLst>
            <pc:docMk/>
            <pc:sldMk cId="1709924489" sldId="2145705738"/>
            <ac:spMk id="3" creationId="{4782BD86-BEE5-8F00-8E1D-D62745634CA4}"/>
          </ac:spMkLst>
        </pc:spChg>
      </pc:sldChg>
      <pc:sldChg chg="modSp add mod ord">
        <pc:chgData name="Reardon, Timothy (EOHLC)" userId="31339d56-df5e-429b-974c-d8934eead266" providerId="ADAL" clId="{8011ED6C-CCA0-484F-9607-702244CC9231}" dt="2025-02-27T20:21:05.912" v="5319" actId="20577"/>
        <pc:sldMkLst>
          <pc:docMk/>
          <pc:sldMk cId="2702203010" sldId="2145705739"/>
        </pc:sldMkLst>
      </pc:sldChg>
      <pc:sldChg chg="delSp modSp mod">
        <pc:chgData name="Reardon, Timothy (EOHLC)" userId="31339d56-df5e-429b-974c-d8934eead266" providerId="ADAL" clId="{8011ED6C-CCA0-484F-9607-702244CC9231}" dt="2025-03-11T02:10:53.669" v="5506" actId="478"/>
        <pc:sldMkLst>
          <pc:docMk/>
          <pc:sldMk cId="4193408303" sldId="2145705741"/>
        </pc:sldMkLst>
        <pc:spChg chg="del mod">
          <ac:chgData name="Reardon, Timothy (EOHLC)" userId="31339d56-df5e-429b-974c-d8934eead266" providerId="ADAL" clId="{8011ED6C-CCA0-484F-9607-702244CC9231}" dt="2025-03-11T02:10:53.669" v="5506" actId="478"/>
          <ac:spMkLst>
            <pc:docMk/>
            <pc:sldMk cId="4193408303" sldId="2145705741"/>
            <ac:spMk id="4" creationId="{B20ADDF9-6CB3-BC7F-6593-4D350E0A2B26}"/>
          </ac:spMkLst>
        </pc:spChg>
        <pc:spChg chg="mod">
          <ac:chgData name="Reardon, Timothy (EOHLC)" userId="31339d56-df5e-429b-974c-d8934eead266" providerId="ADAL" clId="{8011ED6C-CCA0-484F-9607-702244CC9231}" dt="2025-03-11T02:10:46.710" v="5505" actId="1076"/>
          <ac:spMkLst>
            <pc:docMk/>
            <pc:sldMk cId="4193408303" sldId="2145705741"/>
            <ac:spMk id="5" creationId="{8E0D1143-6860-E437-4582-31381FF25C17}"/>
          </ac:spMkLst>
        </pc:spChg>
      </pc:sldChg>
      <pc:sldChg chg="modSp add mod">
        <pc:chgData name="Reardon, Timothy (EOHLC)" userId="31339d56-df5e-429b-974c-d8934eead266" providerId="ADAL" clId="{8011ED6C-CCA0-484F-9607-702244CC9231}" dt="2025-03-11T02:17:37.506" v="5510" actId="20577"/>
        <pc:sldMkLst>
          <pc:docMk/>
          <pc:sldMk cId="2018921887" sldId="2145705742"/>
        </pc:sldMkLst>
        <pc:spChg chg="mod">
          <ac:chgData name="Reardon, Timothy (EOHLC)" userId="31339d56-df5e-429b-974c-d8934eead266" providerId="ADAL" clId="{8011ED6C-CCA0-484F-9607-702244CC9231}" dt="2025-02-27T19:54:49.997" v="4067"/>
          <ac:spMkLst>
            <pc:docMk/>
            <pc:sldMk cId="2018921887" sldId="2145705742"/>
            <ac:spMk id="2" creationId="{717CEA8B-AB6D-888E-2520-27BC45AF1EA6}"/>
          </ac:spMkLst>
        </pc:spChg>
        <pc:spChg chg="mod">
          <ac:chgData name="Reardon, Timothy (EOHLC)" userId="31339d56-df5e-429b-974c-d8934eead266" providerId="ADAL" clId="{8011ED6C-CCA0-484F-9607-702244CC9231}" dt="2025-03-11T02:17:37.506" v="5510" actId="20577"/>
          <ac:spMkLst>
            <pc:docMk/>
            <pc:sldMk cId="2018921887" sldId="2145705742"/>
            <ac:spMk id="3" creationId="{A8C6FEF2-783A-26B6-192A-9A9F17DEBB7C}"/>
          </ac:spMkLst>
        </pc:spChg>
      </pc:sldChg>
      <pc:sldChg chg="addSp delSp modSp add mod ord">
        <pc:chgData name="Reardon, Timothy (EOHLC)" userId="31339d56-df5e-429b-974c-d8934eead266" providerId="ADAL" clId="{8011ED6C-CCA0-484F-9607-702244CC9231}" dt="2025-03-11T03:55:20.284" v="5597"/>
        <pc:sldMkLst>
          <pc:docMk/>
          <pc:sldMk cId="537395017" sldId="2145705743"/>
        </pc:sldMkLst>
        <pc:picChg chg="add mod">
          <ac:chgData name="Reardon, Timothy (EOHLC)" userId="31339d56-df5e-429b-974c-d8934eead266" providerId="ADAL" clId="{8011ED6C-CCA0-484F-9607-702244CC9231}" dt="2025-02-27T20:09:30.710" v="5252" actId="1037"/>
          <ac:picMkLst>
            <pc:docMk/>
            <pc:sldMk cId="537395017" sldId="2145705743"/>
            <ac:picMk id="7" creationId="{930101EC-F882-8360-B271-86B592897F81}"/>
          </ac:picMkLst>
        </pc:picChg>
        <pc:picChg chg="add mod">
          <ac:chgData name="Reardon, Timothy (EOHLC)" userId="31339d56-df5e-429b-974c-d8934eead266" providerId="ADAL" clId="{8011ED6C-CCA0-484F-9607-702244CC9231}" dt="2025-02-27T20:09:32.726" v="5253" actId="1038"/>
          <ac:picMkLst>
            <pc:docMk/>
            <pc:sldMk cId="537395017" sldId="2145705743"/>
            <ac:picMk id="9" creationId="{4BAEFC37-8767-5632-5900-B7F89EFC0157}"/>
          </ac:picMkLst>
        </pc:picChg>
      </pc:sldChg>
      <pc:sldChg chg="addSp delSp modSp new mod">
        <pc:chgData name="Reardon, Timothy (EOHLC)" userId="31339d56-df5e-429b-974c-d8934eead266" providerId="ADAL" clId="{8011ED6C-CCA0-484F-9607-702244CC9231}" dt="2025-03-11T15:55:17.670" v="5999" actId="27918"/>
        <pc:sldMkLst>
          <pc:docMk/>
          <pc:sldMk cId="3682032961" sldId="2145705747"/>
        </pc:sldMkLst>
        <pc:spChg chg="mod">
          <ac:chgData name="Reardon, Timothy (EOHLC)" userId="31339d56-df5e-429b-974c-d8934eead266" providerId="ADAL" clId="{8011ED6C-CCA0-484F-9607-702244CC9231}" dt="2025-03-11T03:47:56.811" v="5533" actId="20577"/>
          <ac:spMkLst>
            <pc:docMk/>
            <pc:sldMk cId="3682032961" sldId="2145705747"/>
            <ac:spMk id="2" creationId="{0EC70DEE-29BA-8700-3352-6C4974E01A5A}"/>
          </ac:spMkLst>
        </pc:spChg>
        <pc:spChg chg="del">
          <ac:chgData name="Reardon, Timothy (EOHLC)" userId="31339d56-df5e-429b-974c-d8934eead266" providerId="ADAL" clId="{8011ED6C-CCA0-484F-9607-702244CC9231}" dt="2025-03-11T03:47:30.313" v="5528" actId="478"/>
          <ac:spMkLst>
            <pc:docMk/>
            <pc:sldMk cId="3682032961" sldId="2145705747"/>
            <ac:spMk id="3" creationId="{CF6AAA15-DB8E-A8A6-D16D-80D9856C3ACE}"/>
          </ac:spMkLst>
        </pc:spChg>
        <pc:graphicFrameChg chg="add mod">
          <ac:chgData name="Reardon, Timothy (EOHLC)" userId="31339d56-df5e-429b-974c-d8934eead266" providerId="ADAL" clId="{8011ED6C-CCA0-484F-9607-702244CC9231}" dt="2025-03-11T03:46:24.057" v="5516"/>
          <ac:graphicFrameMkLst>
            <pc:docMk/>
            <pc:sldMk cId="3682032961" sldId="2145705747"/>
            <ac:graphicFrameMk id="4" creationId="{D6317C5A-4A39-0F03-DA56-42058DB65B6A}"/>
          </ac:graphicFrameMkLst>
        </pc:graphicFrameChg>
        <pc:graphicFrameChg chg="add mod">
          <ac:chgData name="Reardon, Timothy (EOHLC)" userId="31339d56-df5e-429b-974c-d8934eead266" providerId="ADAL" clId="{8011ED6C-CCA0-484F-9607-702244CC9231}" dt="2025-03-11T04:36:42.235" v="5895" actId="20577"/>
          <ac:graphicFrameMkLst>
            <pc:docMk/>
            <pc:sldMk cId="3682032961" sldId="2145705747"/>
            <ac:graphicFrameMk id="5" creationId="{D6317C5A-4A39-0F03-DA56-42058DB65B6A}"/>
          </ac:graphicFrameMkLst>
        </pc:graphicFrameChg>
      </pc:sldChg>
      <pc:sldChg chg="addSp delSp modSp new mod">
        <pc:chgData name="Reardon, Timothy (EOHLC)" userId="31339d56-df5e-429b-974c-d8934eead266" providerId="ADAL" clId="{8011ED6C-CCA0-484F-9607-702244CC9231}" dt="2025-03-11T16:25:52.651" v="6001"/>
        <pc:sldMkLst>
          <pc:docMk/>
          <pc:sldMk cId="1151582627" sldId="2145705748"/>
        </pc:sldMkLst>
        <pc:spChg chg="mod">
          <ac:chgData name="Reardon, Timothy (EOHLC)" userId="31339d56-df5e-429b-974c-d8934eead266" providerId="ADAL" clId="{8011ED6C-CCA0-484F-9607-702244CC9231}" dt="2025-03-11T04:27:19.201" v="5676" actId="20577"/>
          <ac:spMkLst>
            <pc:docMk/>
            <pc:sldMk cId="1151582627" sldId="2145705748"/>
            <ac:spMk id="2" creationId="{CF714F61-82D4-68D1-271B-AA99571B6B9D}"/>
          </ac:spMkLst>
        </pc:spChg>
        <pc:spChg chg="del">
          <ac:chgData name="Reardon, Timothy (EOHLC)" userId="31339d56-df5e-429b-974c-d8934eead266" providerId="ADAL" clId="{8011ED6C-CCA0-484F-9607-702244CC9231}" dt="2025-03-11T04:26:59.020" v="5640" actId="478"/>
          <ac:spMkLst>
            <pc:docMk/>
            <pc:sldMk cId="1151582627" sldId="2145705748"/>
            <ac:spMk id="3" creationId="{49E405ED-AC7F-4A20-F1BE-663CB00AA695}"/>
          </ac:spMkLst>
        </pc:spChg>
        <pc:graphicFrameChg chg="add mod">
          <ac:chgData name="Reardon, Timothy (EOHLC)" userId="31339d56-df5e-429b-974c-d8934eead266" providerId="ADAL" clId="{8011ED6C-CCA0-484F-9607-702244CC9231}" dt="2025-03-11T04:25:33.319" v="5622"/>
          <ac:graphicFrameMkLst>
            <pc:docMk/>
            <pc:sldMk cId="1151582627" sldId="2145705748"/>
            <ac:graphicFrameMk id="4" creationId="{862867EF-0B9A-5CFD-F597-4D4A50438AA4}"/>
          </ac:graphicFrameMkLst>
        </pc:graphicFrameChg>
        <pc:graphicFrameChg chg="add mod">
          <ac:chgData name="Reardon, Timothy (EOHLC)" userId="31339d56-df5e-429b-974c-d8934eead266" providerId="ADAL" clId="{8011ED6C-CCA0-484F-9607-702244CC9231}" dt="2025-03-11T16:25:52.651" v="6001"/>
          <ac:graphicFrameMkLst>
            <pc:docMk/>
            <pc:sldMk cId="1151582627" sldId="2145705748"/>
            <ac:graphicFrameMk id="5" creationId="{862867EF-0B9A-5CFD-F597-4D4A50438AA4}"/>
          </ac:graphicFrameMkLst>
        </pc:graphicFrameChg>
      </pc:sldChg>
      <pc:sldChg chg="addSp delSp modSp new del mod">
        <pc:chgData name="Reardon, Timothy (EOHLC)" userId="31339d56-df5e-429b-974c-d8934eead266" providerId="ADAL" clId="{8011ED6C-CCA0-484F-9607-702244CC9231}" dt="2025-03-11T04:41:11.161" v="5998" actId="47"/>
        <pc:sldMkLst>
          <pc:docMk/>
          <pc:sldMk cId="1456898434" sldId="2145705749"/>
        </pc:sldMkLst>
        <pc:spChg chg="mod">
          <ac:chgData name="Reardon, Timothy (EOHLC)" userId="31339d56-df5e-429b-974c-d8934eead266" providerId="ADAL" clId="{8011ED6C-CCA0-484F-9607-702244CC9231}" dt="2025-03-11T04:40:40.910" v="5997" actId="20577"/>
          <ac:spMkLst>
            <pc:docMk/>
            <pc:sldMk cId="1456898434" sldId="2145705749"/>
            <ac:spMk id="2" creationId="{1DF2E7D9-0FC1-515C-2D13-E53E3171D44B}"/>
          </ac:spMkLst>
        </pc:spChg>
        <pc:spChg chg="del mod">
          <ac:chgData name="Reardon, Timothy (EOHLC)" userId="31339d56-df5e-429b-974c-d8934eead266" providerId="ADAL" clId="{8011ED6C-CCA0-484F-9607-702244CC9231}" dt="2025-03-11T04:40:04.913" v="5902" actId="478"/>
          <ac:spMkLst>
            <pc:docMk/>
            <pc:sldMk cId="1456898434" sldId="2145705749"/>
            <ac:spMk id="3" creationId="{DB75D581-B756-B0AC-D522-DECC5594B1EB}"/>
          </ac:spMkLst>
        </pc:spChg>
        <pc:picChg chg="add mod">
          <ac:chgData name="Reardon, Timothy (EOHLC)" userId="31339d56-df5e-429b-974c-d8934eead266" providerId="ADAL" clId="{8011ED6C-CCA0-484F-9607-702244CC9231}" dt="2025-03-11T04:40:10.368" v="5904" actId="1076"/>
          <ac:picMkLst>
            <pc:docMk/>
            <pc:sldMk cId="1456898434" sldId="2145705749"/>
            <ac:picMk id="5" creationId="{09BCAA41-20CE-3592-191F-026FBA6468C6}"/>
          </ac:picMkLst>
        </pc:picChg>
      </pc:sldChg>
    </pc:docChg>
  </pc:docChgLst>
  <pc:docChgLst>
    <pc:chgData name="Walsh, Matthew (EOHLC)" userId="S::matthew.walsh@mass.gov::6b9d2727-13b7-4fba-bda7-e67533322e9c" providerId="AD" clId="Web-{BF48DDBE-9285-3DA7-52DB-EE2C06D695B7}"/>
    <pc:docChg chg="modSld">
      <pc:chgData name="Walsh, Matthew (EOHLC)" userId="S::matthew.walsh@mass.gov::6b9d2727-13b7-4fba-bda7-e67533322e9c" providerId="AD" clId="Web-{BF48DDBE-9285-3DA7-52DB-EE2C06D695B7}" dt="2025-03-10T14:29:26.117" v="266"/>
      <pc:docMkLst>
        <pc:docMk/>
      </pc:docMkLst>
      <pc:sldChg chg="modNotes">
        <pc:chgData name="Walsh, Matthew (EOHLC)" userId="S::matthew.walsh@mass.gov::6b9d2727-13b7-4fba-bda7-e67533322e9c" providerId="AD" clId="Web-{BF48DDBE-9285-3DA7-52DB-EE2C06D695B7}" dt="2025-03-10T14:29:26.117" v="266"/>
        <pc:sldMkLst>
          <pc:docMk/>
          <pc:sldMk cId="847511936" sldId="256"/>
        </pc:sldMkLst>
      </pc:sldChg>
    </pc:docChg>
  </pc:docChgLst>
  <pc:docChgLst>
    <pc:chgData name="Walsh, Matthew (EOHLC)" userId="S::matthew.walsh@mass.gov::6b9d2727-13b7-4fba-bda7-e67533322e9c" providerId="AD" clId="Web-{CE2179D1-0E4F-B77C-753D-EF1555E8E814}"/>
    <pc:docChg chg="modSld">
      <pc:chgData name="Walsh, Matthew (EOHLC)" userId="S::matthew.walsh@mass.gov::6b9d2727-13b7-4fba-bda7-e67533322e9c" providerId="AD" clId="Web-{CE2179D1-0E4F-B77C-753D-EF1555E8E814}" dt="2025-02-28T17:31:13.433" v="228"/>
      <pc:docMkLst>
        <pc:docMk/>
      </pc:docMkLst>
      <pc:sldChg chg="modSp">
        <pc:chgData name="Walsh, Matthew (EOHLC)" userId="S::matthew.walsh@mass.gov::6b9d2727-13b7-4fba-bda7-e67533322e9c" providerId="AD" clId="Web-{CE2179D1-0E4F-B77C-753D-EF1555E8E814}" dt="2025-02-27T22:07:19.620" v="52" actId="20577"/>
        <pc:sldMkLst>
          <pc:docMk/>
          <pc:sldMk cId="3009510117" sldId="2145705719"/>
        </pc:sldMkLst>
        <pc:spChg chg="mod">
          <ac:chgData name="Walsh, Matthew (EOHLC)" userId="S::matthew.walsh@mass.gov::6b9d2727-13b7-4fba-bda7-e67533322e9c" providerId="AD" clId="Web-{CE2179D1-0E4F-B77C-753D-EF1555E8E814}" dt="2025-02-27T22:07:19.620" v="52" actId="20577"/>
          <ac:spMkLst>
            <pc:docMk/>
            <pc:sldMk cId="3009510117" sldId="2145705719"/>
            <ac:spMk id="2" creationId="{43F18EC5-9759-7D09-3C52-2B13C9DEDFB5}"/>
          </ac:spMkLst>
        </pc:spChg>
      </pc:sldChg>
      <pc:sldChg chg="modSp modCm">
        <pc:chgData name="Walsh, Matthew (EOHLC)" userId="S::matthew.walsh@mass.gov::6b9d2727-13b7-4fba-bda7-e67533322e9c" providerId="AD" clId="Web-{CE2179D1-0E4F-B77C-753D-EF1555E8E814}" dt="2025-02-27T22:18:37.933" v="55" actId="20577"/>
        <pc:sldMkLst>
          <pc:docMk/>
          <pc:sldMk cId="1576472681" sldId="2145705723"/>
        </pc:sldMkLst>
        <pc:extLst>
          <p:ext xmlns:p="http://schemas.openxmlformats.org/presentationml/2006/main" uri="{D6D511B9-2390-475A-947B-AFAB55BFBCF1}">
            <pc226:cmChg xmlns:pc226="http://schemas.microsoft.com/office/powerpoint/2022/06/main/command" chg="mod">
              <pc226:chgData name="Walsh, Matthew (EOHLC)" userId="S::matthew.walsh@mass.gov::6b9d2727-13b7-4fba-bda7-e67533322e9c" providerId="AD" clId="Web-{CE2179D1-0E4F-B77C-753D-EF1555E8E814}" dt="2025-02-27T22:18:36.370" v="53" actId="20577"/>
              <pc2:cmMkLst xmlns:pc2="http://schemas.microsoft.com/office/powerpoint/2019/9/main/command">
                <pc:docMk/>
                <pc:sldMk cId="1576472681" sldId="2145705723"/>
                <pc2:cmMk id="{BC818399-2757-46EE-8B51-BA9E09F311F6}"/>
              </pc2:cmMkLst>
            </pc226:cmChg>
          </p:ext>
        </pc:extLst>
      </pc:sldChg>
    </pc:docChg>
  </pc:docChgLst>
  <pc:docChgLst>
    <pc:chgData name="Walsh, Matthew (EOHLC)" userId="S::matthew.walsh@mass.gov::6b9d2727-13b7-4fba-bda7-e67533322e9c" providerId="AD" clId="Web-{FD27D39A-E3D2-EBF9-E8B6-6B701700CE92}"/>
    <pc:docChg chg="delSld modSld">
      <pc:chgData name="Walsh, Matthew (EOHLC)" userId="S::matthew.walsh@mass.gov::6b9d2727-13b7-4fba-bda7-e67533322e9c" providerId="AD" clId="Web-{FD27D39A-E3D2-EBF9-E8B6-6B701700CE92}" dt="2025-02-24T20:56:48.200" v="297"/>
      <pc:docMkLst>
        <pc:docMk/>
      </pc:docMkLst>
      <pc:sldChg chg="modSp">
        <pc:chgData name="Walsh, Matthew (EOHLC)" userId="S::matthew.walsh@mass.gov::6b9d2727-13b7-4fba-bda7-e67533322e9c" providerId="AD" clId="Web-{FD27D39A-E3D2-EBF9-E8B6-6B701700CE92}" dt="2025-02-24T17:33:52.841" v="250" actId="20577"/>
        <pc:sldMkLst>
          <pc:docMk/>
          <pc:sldMk cId="847511936" sldId="256"/>
        </pc:sldMkLst>
        <pc:spChg chg="mod">
          <ac:chgData name="Walsh, Matthew (EOHLC)" userId="S::matthew.walsh@mass.gov::6b9d2727-13b7-4fba-bda7-e67533322e9c" providerId="AD" clId="Web-{FD27D39A-E3D2-EBF9-E8B6-6B701700CE92}" dt="2025-02-24T17:33:52.841" v="250" actId="20577"/>
          <ac:spMkLst>
            <pc:docMk/>
            <pc:sldMk cId="847511936" sldId="256"/>
            <ac:spMk id="4" creationId="{F9D1A61C-8CFC-7695-51FC-A864F0CF7918}"/>
          </ac:spMkLst>
        </pc:spChg>
      </pc:sldChg>
      <pc:sldChg chg="modSp">
        <pc:chgData name="Walsh, Matthew (EOHLC)" userId="S::matthew.walsh@mass.gov::6b9d2727-13b7-4fba-bda7-e67533322e9c" providerId="AD" clId="Web-{FD27D39A-E3D2-EBF9-E8B6-6B701700CE92}" dt="2025-02-24T15:44:50.261" v="2"/>
        <pc:sldMkLst>
          <pc:docMk/>
          <pc:sldMk cId="2718007075" sldId="2145705583"/>
        </pc:sldMkLst>
        <pc:graphicFrameChg chg="mod modGraphic">
          <ac:chgData name="Walsh, Matthew (EOHLC)" userId="S::matthew.walsh@mass.gov::6b9d2727-13b7-4fba-bda7-e67533322e9c" providerId="AD" clId="Web-{FD27D39A-E3D2-EBF9-E8B6-6B701700CE92}" dt="2025-02-24T15:44:50.261" v="2"/>
          <ac:graphicFrameMkLst>
            <pc:docMk/>
            <pc:sldMk cId="2718007075" sldId="2145705583"/>
            <ac:graphicFrameMk id="3" creationId="{5028B61B-25D8-5187-F9E2-429ADA71341A}"/>
          </ac:graphicFrameMkLst>
        </pc:graphicFrameChg>
      </pc:sldChg>
      <pc:sldChg chg="modSp">
        <pc:chgData name="Walsh, Matthew (EOHLC)" userId="S::matthew.walsh@mass.gov::6b9d2727-13b7-4fba-bda7-e67533322e9c" providerId="AD" clId="Web-{FD27D39A-E3D2-EBF9-E8B6-6B701700CE92}" dt="2025-02-24T17:34:04.044" v="251" actId="20577"/>
        <pc:sldMkLst>
          <pc:docMk/>
          <pc:sldMk cId="3936441335" sldId="2145705641"/>
        </pc:sldMkLst>
      </pc:sldChg>
      <pc:sldChg chg="addSp modSp">
        <pc:chgData name="Walsh, Matthew (EOHLC)" userId="S::matthew.walsh@mass.gov::6b9d2727-13b7-4fba-bda7-e67533322e9c" providerId="AD" clId="Web-{FD27D39A-E3D2-EBF9-E8B6-6B701700CE92}" dt="2025-02-24T17:33:32.216" v="242" actId="20577"/>
        <pc:sldMkLst>
          <pc:docMk/>
          <pc:sldMk cId="3009510117" sldId="2145705719"/>
        </pc:sldMkLst>
        <pc:spChg chg="add mod">
          <ac:chgData name="Walsh, Matthew (EOHLC)" userId="S::matthew.walsh@mass.gov::6b9d2727-13b7-4fba-bda7-e67533322e9c" providerId="AD" clId="Web-{FD27D39A-E3D2-EBF9-E8B6-6B701700CE92}" dt="2025-02-24T17:33:32.216" v="242" actId="20577"/>
          <ac:spMkLst>
            <pc:docMk/>
            <pc:sldMk cId="3009510117" sldId="2145705719"/>
            <ac:spMk id="2" creationId="{43F18EC5-9759-7D09-3C52-2B13C9DEDFB5}"/>
          </ac:spMkLst>
        </pc:spChg>
        <pc:spChg chg="mod">
          <ac:chgData name="Walsh, Matthew (EOHLC)" userId="S::matthew.walsh@mass.gov::6b9d2727-13b7-4fba-bda7-e67533322e9c" providerId="AD" clId="Web-{FD27D39A-E3D2-EBF9-E8B6-6B701700CE92}" dt="2025-02-24T17:33:06.404" v="239" actId="20577"/>
          <ac:spMkLst>
            <pc:docMk/>
            <pc:sldMk cId="3009510117" sldId="2145705719"/>
            <ac:spMk id="3" creationId="{61DBD839-C784-C897-BE2C-2C971338278C}"/>
          </ac:spMkLst>
        </pc:spChg>
      </pc:sldChg>
      <pc:sldChg chg="del">
        <pc:chgData name="Walsh, Matthew (EOHLC)" userId="S::matthew.walsh@mass.gov::6b9d2727-13b7-4fba-bda7-e67533322e9c" providerId="AD" clId="Web-{FD27D39A-E3D2-EBF9-E8B6-6B701700CE92}" dt="2025-02-24T17:28:59.312" v="172"/>
        <pc:sldMkLst>
          <pc:docMk/>
          <pc:sldMk cId="4268790590" sldId="2145705729"/>
        </pc:sldMkLst>
      </pc:sldChg>
      <pc:sldChg chg="del">
        <pc:chgData name="Walsh, Matthew (EOHLC)" userId="S::matthew.walsh@mass.gov::6b9d2727-13b7-4fba-bda7-e67533322e9c" providerId="AD" clId="Web-{FD27D39A-E3D2-EBF9-E8B6-6B701700CE92}" dt="2025-02-24T17:29:01.187" v="173"/>
        <pc:sldMkLst>
          <pc:docMk/>
          <pc:sldMk cId="3539355562" sldId="2145705730"/>
        </pc:sldMkLst>
      </pc:sldChg>
      <pc:sldChg chg="addSp modSp">
        <pc:chgData name="Walsh, Matthew (EOHLC)" userId="S::matthew.walsh@mass.gov::6b9d2727-13b7-4fba-bda7-e67533322e9c" providerId="AD" clId="Web-{FD27D39A-E3D2-EBF9-E8B6-6B701700CE92}" dt="2025-02-24T17:28:54.015" v="171" actId="1076"/>
        <pc:sldMkLst>
          <pc:docMk/>
          <pc:sldMk cId="4211036557" sldId="2145705731"/>
        </pc:sldMkLst>
        <pc:spChg chg="add mod">
          <ac:chgData name="Walsh, Matthew (EOHLC)" userId="S::matthew.walsh@mass.gov::6b9d2727-13b7-4fba-bda7-e67533322e9c" providerId="AD" clId="Web-{FD27D39A-E3D2-EBF9-E8B6-6B701700CE92}" dt="2025-02-24T17:27:04.579" v="135" actId="20577"/>
          <ac:spMkLst>
            <pc:docMk/>
            <pc:sldMk cId="4211036557" sldId="2145705731"/>
            <ac:spMk id="5" creationId="{DEC7B028-D721-4E47-5064-8FA422380651}"/>
          </ac:spMkLst>
        </pc:spChg>
      </pc:sldChg>
    </pc:docChg>
  </pc:docChgLst>
  <pc:docChgLst>
    <pc:chgData name="Walsh, Matthew (EOHLC)" userId="S::matthew.walsh@mass.gov::6b9d2727-13b7-4fba-bda7-e67533322e9c" providerId="AD" clId="Web-{766E91D3-B058-7E20-C064-8B17037E5B5E}"/>
    <pc:docChg chg="modSld">
      <pc:chgData name="Walsh, Matthew (EOHLC)" userId="S::matthew.walsh@mass.gov::6b9d2727-13b7-4fba-bda7-e67533322e9c" providerId="AD" clId="Web-{766E91D3-B058-7E20-C064-8B17037E5B5E}" dt="2025-03-11T16:42:58.291" v="9"/>
      <pc:docMkLst>
        <pc:docMk/>
      </pc:docMkLst>
      <pc:sldChg chg="modNotes">
        <pc:chgData name="Walsh, Matthew (EOHLC)" userId="S::matthew.walsh@mass.gov::6b9d2727-13b7-4fba-bda7-e67533322e9c" providerId="AD" clId="Web-{766E91D3-B058-7E20-C064-8B17037E5B5E}" dt="2025-03-11T16:40:57.354" v="0"/>
        <pc:sldMkLst>
          <pc:docMk/>
          <pc:sldMk cId="847511936" sldId="256"/>
        </pc:sldMkLst>
      </pc:sldChg>
      <pc:sldChg chg="modNotes">
        <pc:chgData name="Walsh, Matthew (EOHLC)" userId="S::matthew.walsh@mass.gov::6b9d2727-13b7-4fba-bda7-e67533322e9c" providerId="AD" clId="Web-{766E91D3-B058-7E20-C064-8B17037E5B5E}" dt="2025-03-11T16:41:27.697" v="4"/>
        <pc:sldMkLst>
          <pc:docMk/>
          <pc:sldMk cId="2718007075" sldId="2145705583"/>
        </pc:sldMkLst>
      </pc:sldChg>
      <pc:sldChg chg="modNotes">
        <pc:chgData name="Walsh, Matthew (EOHLC)" userId="S::matthew.walsh@mass.gov::6b9d2727-13b7-4fba-bda7-e67533322e9c" providerId="AD" clId="Web-{766E91D3-B058-7E20-C064-8B17037E5B5E}" dt="2025-03-11T16:41:16.385" v="2"/>
        <pc:sldMkLst>
          <pc:docMk/>
          <pc:sldMk cId="2091034526" sldId="2145705702"/>
        </pc:sldMkLst>
      </pc:sldChg>
      <pc:sldChg chg="modNotes">
        <pc:chgData name="Walsh, Matthew (EOHLC)" userId="S::matthew.walsh@mass.gov::6b9d2727-13b7-4fba-bda7-e67533322e9c" providerId="AD" clId="Web-{766E91D3-B058-7E20-C064-8B17037E5B5E}" dt="2025-03-11T16:41:24.604" v="3"/>
        <pc:sldMkLst>
          <pc:docMk/>
          <pc:sldMk cId="3009510117" sldId="2145705719"/>
        </pc:sldMkLst>
      </pc:sldChg>
      <pc:sldChg chg="modNotes">
        <pc:chgData name="Walsh, Matthew (EOHLC)" userId="S::matthew.walsh@mass.gov::6b9d2727-13b7-4fba-bda7-e67533322e9c" providerId="AD" clId="Web-{766E91D3-B058-7E20-C064-8B17037E5B5E}" dt="2025-03-11T16:42:49.541" v="8"/>
        <pc:sldMkLst>
          <pc:docMk/>
          <pc:sldMk cId="1080336757" sldId="2145705724"/>
        </pc:sldMkLst>
      </pc:sldChg>
      <pc:sldChg chg="modNotes">
        <pc:chgData name="Walsh, Matthew (EOHLC)" userId="S::matthew.walsh@mass.gov::6b9d2727-13b7-4fba-bda7-e67533322e9c" providerId="AD" clId="Web-{766E91D3-B058-7E20-C064-8B17037E5B5E}" dt="2025-03-11T16:42:37.885" v="6"/>
        <pc:sldMkLst>
          <pc:docMk/>
          <pc:sldMk cId="112296024" sldId="2145705728"/>
        </pc:sldMkLst>
      </pc:sldChg>
      <pc:sldChg chg="modNotes">
        <pc:chgData name="Walsh, Matthew (EOHLC)" userId="S::matthew.walsh@mass.gov::6b9d2727-13b7-4fba-bda7-e67533322e9c" providerId="AD" clId="Web-{766E91D3-B058-7E20-C064-8B17037E5B5E}" dt="2025-03-11T16:41:36.307" v="5"/>
        <pc:sldMkLst>
          <pc:docMk/>
          <pc:sldMk cId="2566936719" sldId="2145705740"/>
        </pc:sldMkLst>
      </pc:sldChg>
      <pc:sldChg chg="modNotes">
        <pc:chgData name="Walsh, Matthew (EOHLC)" userId="S::matthew.walsh@mass.gov::6b9d2727-13b7-4fba-bda7-e67533322e9c" providerId="AD" clId="Web-{766E91D3-B058-7E20-C064-8B17037E5B5E}" dt="2025-03-11T16:42:58.291" v="9"/>
        <pc:sldMkLst>
          <pc:docMk/>
          <pc:sldMk cId="418934407" sldId="2145705744"/>
        </pc:sldMkLst>
      </pc:sldChg>
      <pc:sldChg chg="modNotes">
        <pc:chgData name="Walsh, Matthew (EOHLC)" userId="S::matthew.walsh@mass.gov::6b9d2727-13b7-4fba-bda7-e67533322e9c" providerId="AD" clId="Web-{766E91D3-B058-7E20-C064-8B17037E5B5E}" dt="2025-03-11T16:42:43.150" v="7"/>
        <pc:sldMkLst>
          <pc:docMk/>
          <pc:sldMk cId="3729129130" sldId="2145705746"/>
        </pc:sldMkLst>
      </pc:sldChg>
    </pc:docChg>
  </pc:docChgLst>
  <pc:docChgLst>
    <pc:chgData name="Walsh, Matthew (EOHLC)" userId="S::matthew.walsh@mass.gov::6b9d2727-13b7-4fba-bda7-e67533322e9c" providerId="AD" clId="Web-{03B74ABA-BFEA-5040-56E7-29BEE8D3F3A5}"/>
    <pc:docChg chg="modSld">
      <pc:chgData name="Walsh, Matthew (EOHLC)" userId="S::matthew.walsh@mass.gov::6b9d2727-13b7-4fba-bda7-e67533322e9c" providerId="AD" clId="Web-{03B74ABA-BFEA-5040-56E7-29BEE8D3F3A5}" dt="2025-03-13T18:12:12.853" v="4" actId="20577"/>
      <pc:docMkLst>
        <pc:docMk/>
      </pc:docMkLst>
      <pc:sldChg chg="modSp">
        <pc:chgData name="Walsh, Matthew (EOHLC)" userId="S::matthew.walsh@mass.gov::6b9d2727-13b7-4fba-bda7-e67533322e9c" providerId="AD" clId="Web-{03B74ABA-BFEA-5040-56E7-29BEE8D3F3A5}" dt="2025-03-13T18:12:12.853" v="4" actId="20577"/>
        <pc:sldMkLst>
          <pc:docMk/>
          <pc:sldMk cId="4193408303" sldId="2145705741"/>
        </pc:sldMkLst>
        <pc:spChg chg="mod">
          <ac:chgData name="Walsh, Matthew (EOHLC)" userId="S::matthew.walsh@mass.gov::6b9d2727-13b7-4fba-bda7-e67533322e9c" providerId="AD" clId="Web-{03B74ABA-BFEA-5040-56E7-29BEE8D3F3A5}" dt="2025-03-13T18:12:12.853" v="4" actId="20577"/>
          <ac:spMkLst>
            <pc:docMk/>
            <pc:sldMk cId="4193408303" sldId="2145705741"/>
            <ac:spMk id="3" creationId="{BE195DF3-1A49-013A-39FB-ED0695D44F69}"/>
          </ac:spMkLst>
        </pc:spChg>
        <pc:spChg chg="mod">
          <ac:chgData name="Walsh, Matthew (EOHLC)" userId="S::matthew.walsh@mass.gov::6b9d2727-13b7-4fba-bda7-e67533322e9c" providerId="AD" clId="Web-{03B74ABA-BFEA-5040-56E7-29BEE8D3F3A5}" dt="2025-03-13T18:12:08.478" v="2" actId="20577"/>
          <ac:spMkLst>
            <pc:docMk/>
            <pc:sldMk cId="4193408303" sldId="2145705741"/>
            <ac:spMk id="5" creationId="{8E0D1143-6860-E437-4582-31381FF25C17}"/>
          </ac:spMkLst>
        </pc:spChg>
      </pc:sldChg>
    </pc:docChg>
  </pc:docChgLst>
  <pc:docChgLst>
    <pc:chgData name="Walsh, Matthew (EOHLC)" userId="S::matthew.walsh@mass.gov::6b9d2727-13b7-4fba-bda7-e67533322e9c" providerId="AD" clId="Web-{76D0AF1D-DC48-70D9-90F8-7EF3B2E5E414}"/>
    <pc:docChg chg="modSld">
      <pc:chgData name="Walsh, Matthew (EOHLC)" userId="S::matthew.walsh@mass.gov::6b9d2727-13b7-4fba-bda7-e67533322e9c" providerId="AD" clId="Web-{76D0AF1D-DC48-70D9-90F8-7EF3B2E5E414}" dt="2025-03-10T13:11:45.046" v="336"/>
      <pc:docMkLst>
        <pc:docMk/>
      </pc:docMkLst>
      <pc:sldChg chg="modNotes">
        <pc:chgData name="Walsh, Matthew (EOHLC)" userId="S::matthew.walsh@mass.gov::6b9d2727-13b7-4fba-bda7-e67533322e9c" providerId="AD" clId="Web-{76D0AF1D-DC48-70D9-90F8-7EF3B2E5E414}" dt="2025-03-10T13:06:33.971" v="147"/>
        <pc:sldMkLst>
          <pc:docMk/>
          <pc:sldMk cId="3009510117" sldId="2145705719"/>
        </pc:sldMkLst>
      </pc:sldChg>
      <pc:sldChg chg="modSp modNotes">
        <pc:chgData name="Walsh, Matthew (EOHLC)" userId="S::matthew.walsh@mass.gov::6b9d2727-13b7-4fba-bda7-e67533322e9c" providerId="AD" clId="Web-{76D0AF1D-DC48-70D9-90F8-7EF3B2E5E414}" dt="2025-03-10T13:11:01.390" v="332" actId="20577"/>
        <pc:sldMkLst>
          <pc:docMk/>
          <pc:sldMk cId="1576472681" sldId="2145705723"/>
        </pc:sldMkLst>
        <pc:spChg chg="mod">
          <ac:chgData name="Walsh, Matthew (EOHLC)" userId="S::matthew.walsh@mass.gov::6b9d2727-13b7-4fba-bda7-e67533322e9c" providerId="AD" clId="Web-{76D0AF1D-DC48-70D9-90F8-7EF3B2E5E414}" dt="2025-03-10T13:11:01.390" v="332" actId="20577"/>
          <ac:spMkLst>
            <pc:docMk/>
            <pc:sldMk cId="1576472681" sldId="2145705723"/>
            <ac:spMk id="3" creationId="{2E4DA4D3-AA7C-08FB-70E1-2389494B2323}"/>
          </ac:spMkLst>
        </pc:spChg>
      </pc:sldChg>
      <pc:sldChg chg="modNotes">
        <pc:chgData name="Walsh, Matthew (EOHLC)" userId="S::matthew.walsh@mass.gov::6b9d2727-13b7-4fba-bda7-e67533322e9c" providerId="AD" clId="Web-{76D0AF1D-DC48-70D9-90F8-7EF3B2E5E414}" dt="2025-03-10T13:11:16.796" v="334"/>
        <pc:sldMkLst>
          <pc:docMk/>
          <pc:sldMk cId="4211036557" sldId="2145705731"/>
        </pc:sldMkLst>
      </pc:sldChg>
      <pc:sldChg chg="modNotes">
        <pc:chgData name="Walsh, Matthew (EOHLC)" userId="S::matthew.walsh@mass.gov::6b9d2727-13b7-4fba-bda7-e67533322e9c" providerId="AD" clId="Web-{76D0AF1D-DC48-70D9-90F8-7EF3B2E5E414}" dt="2025-03-10T13:10:24.984" v="323"/>
        <pc:sldMkLst>
          <pc:docMk/>
          <pc:sldMk cId="2566936719" sldId="2145705740"/>
        </pc:sldMkLst>
      </pc:sldChg>
      <pc:sldChg chg="modNotes">
        <pc:chgData name="Walsh, Matthew (EOHLC)" userId="S::matthew.walsh@mass.gov::6b9d2727-13b7-4fba-bda7-e67533322e9c" providerId="AD" clId="Web-{76D0AF1D-DC48-70D9-90F8-7EF3B2E5E414}" dt="2025-03-10T13:11:45.046" v="336"/>
        <pc:sldMkLst>
          <pc:docMk/>
          <pc:sldMk cId="418934407" sldId="2145705744"/>
        </pc:sldMkLst>
      </pc:sldChg>
      <pc:sldChg chg="modSp">
        <pc:chgData name="Walsh, Matthew (EOHLC)" userId="S::matthew.walsh@mass.gov::6b9d2727-13b7-4fba-bda7-e67533322e9c" providerId="AD" clId="Web-{76D0AF1D-DC48-70D9-90F8-7EF3B2E5E414}" dt="2025-03-10T13:11:09.265" v="333" actId="1076"/>
        <pc:sldMkLst>
          <pc:docMk/>
          <pc:sldMk cId="3685545330" sldId="2145705745"/>
        </pc:sldMkLst>
        <pc:spChg chg="mod">
          <ac:chgData name="Walsh, Matthew (EOHLC)" userId="S::matthew.walsh@mass.gov::6b9d2727-13b7-4fba-bda7-e67533322e9c" providerId="AD" clId="Web-{76D0AF1D-DC48-70D9-90F8-7EF3B2E5E414}" dt="2025-03-10T13:11:09.265" v="333" actId="1076"/>
          <ac:spMkLst>
            <pc:docMk/>
            <pc:sldMk cId="3685545330" sldId="2145705745"/>
            <ac:spMk id="3" creationId="{881174BC-53F0-B697-7675-7A4CD487D617}"/>
          </ac:spMkLst>
        </pc:spChg>
      </pc:sldChg>
    </pc:docChg>
  </pc:docChgLst>
  <pc:docChgLst>
    <pc:chgData name="Walsh, Matthew (EOHLC)" userId="S::matthew.walsh@mass.gov::6b9d2727-13b7-4fba-bda7-e67533322e9c" providerId="AD" clId="Web-{AEA825A2-705D-7FCD-0B45-F13191E9427C}"/>
    <pc:docChg chg="modSld">
      <pc:chgData name="Walsh, Matthew (EOHLC)" userId="S::matthew.walsh@mass.gov::6b9d2727-13b7-4fba-bda7-e67533322e9c" providerId="AD" clId="Web-{AEA825A2-705D-7FCD-0B45-F13191E9427C}" dt="2025-02-25T18:54:21.108" v="574" actId="1076"/>
      <pc:docMkLst>
        <pc:docMk/>
      </pc:docMkLst>
      <pc:sldChg chg="modSp">
        <pc:chgData name="Walsh, Matthew (EOHLC)" userId="S::matthew.walsh@mass.gov::6b9d2727-13b7-4fba-bda7-e67533322e9c" providerId="AD" clId="Web-{AEA825A2-705D-7FCD-0B45-F13191E9427C}" dt="2025-02-25T18:53:09.499" v="560" actId="20577"/>
        <pc:sldMkLst>
          <pc:docMk/>
          <pc:sldMk cId="2343967245" sldId="2145705725"/>
        </pc:sldMkLst>
        <pc:spChg chg="mod">
          <ac:chgData name="Walsh, Matthew (EOHLC)" userId="S::matthew.walsh@mass.gov::6b9d2727-13b7-4fba-bda7-e67533322e9c" providerId="AD" clId="Web-{AEA825A2-705D-7FCD-0B45-F13191E9427C}" dt="2025-02-25T18:53:09.499" v="560" actId="20577"/>
          <ac:spMkLst>
            <pc:docMk/>
            <pc:sldMk cId="2343967245" sldId="2145705725"/>
            <ac:spMk id="3" creationId="{FD3CEB0C-0EE2-94AD-67D6-7C57FA6A65E4}"/>
          </ac:spMkLst>
        </pc:spChg>
      </pc:sldChg>
      <pc:sldChg chg="delSp modSp">
        <pc:chgData name="Walsh, Matthew (EOHLC)" userId="S::matthew.walsh@mass.gov::6b9d2727-13b7-4fba-bda7-e67533322e9c" providerId="AD" clId="Web-{AEA825A2-705D-7FCD-0B45-F13191E9427C}" dt="2025-02-25T18:54:21.108" v="574" actId="1076"/>
        <pc:sldMkLst>
          <pc:docMk/>
          <pc:sldMk cId="4211036557" sldId="2145705731"/>
        </pc:sldMkLst>
        <pc:spChg chg="mod">
          <ac:chgData name="Walsh, Matthew (EOHLC)" userId="S::matthew.walsh@mass.gov::6b9d2727-13b7-4fba-bda7-e67533322e9c" providerId="AD" clId="Web-{AEA825A2-705D-7FCD-0B45-F13191E9427C}" dt="2025-02-25T18:54:18.702" v="573" actId="1076"/>
          <ac:spMkLst>
            <pc:docMk/>
            <pc:sldMk cId="4211036557" sldId="2145705731"/>
            <ac:spMk id="5" creationId="{DEC7B028-D721-4E47-5064-8FA422380651}"/>
          </ac:spMkLst>
        </pc:spChg>
      </pc:sldChg>
    </pc:docChg>
  </pc:docChgLst>
  <pc:docChgLst>
    <pc:chgData name="Tierney, Sean (EOHLC)" userId="7a98376c-9b3b-40c3-bb0f-571004252cd9" providerId="ADAL" clId="{3EC49B3C-2E40-43F9-9674-289A0ED3B215}"/>
    <pc:docChg chg="undo custSel modSld">
      <pc:chgData name="Tierney, Sean (EOHLC)" userId="7a98376c-9b3b-40c3-bb0f-571004252cd9" providerId="ADAL" clId="{3EC49B3C-2E40-43F9-9674-289A0ED3B215}" dt="2025-02-27T21:39:01.566" v="15" actId="20577"/>
      <pc:docMkLst>
        <pc:docMk/>
      </pc:docMkLst>
      <pc:sldChg chg="modSp mod">
        <pc:chgData name="Tierney, Sean (EOHLC)" userId="7a98376c-9b3b-40c3-bb0f-571004252cd9" providerId="ADAL" clId="{3EC49B3C-2E40-43F9-9674-289A0ED3B215}" dt="2025-02-27T21:39:01.566" v="15" actId="20577"/>
        <pc:sldMkLst>
          <pc:docMk/>
          <pc:sldMk cId="3009510117" sldId="2145705719"/>
        </pc:sldMkLst>
        <pc:spChg chg="mod">
          <ac:chgData name="Tierney, Sean (EOHLC)" userId="7a98376c-9b3b-40c3-bb0f-571004252cd9" providerId="ADAL" clId="{3EC49B3C-2E40-43F9-9674-289A0ED3B215}" dt="2025-02-27T21:39:01.566" v="15" actId="20577"/>
          <ac:spMkLst>
            <pc:docMk/>
            <pc:sldMk cId="3009510117" sldId="2145705719"/>
            <ac:spMk id="2" creationId="{43F18EC5-9759-7D09-3C52-2B13C9DEDFB5}"/>
          </ac:spMkLst>
        </pc:spChg>
      </pc:sldChg>
    </pc:docChg>
  </pc:docChgLst>
  <pc:docChgLst>
    <pc:chgData name="Walsh, Matthew (EOHLC)" userId="S::matthew.walsh@mass.gov::6b9d2727-13b7-4fba-bda7-e67533322e9c" providerId="AD" clId="Web-{AC0DAE67-4F91-B10D-8BF5-8735C47D871D}"/>
    <pc:docChg chg="addSld modSld sldOrd">
      <pc:chgData name="Walsh, Matthew (EOHLC)" userId="S::matthew.walsh@mass.gov::6b9d2727-13b7-4fba-bda7-e67533322e9c" providerId="AD" clId="Web-{AC0DAE67-4F91-B10D-8BF5-8735C47D871D}" dt="2025-03-07T21:53:55.573" v="1544"/>
      <pc:docMkLst>
        <pc:docMk/>
      </pc:docMkLst>
      <pc:sldChg chg="modNotes">
        <pc:chgData name="Walsh, Matthew (EOHLC)" userId="S::matthew.walsh@mass.gov::6b9d2727-13b7-4fba-bda7-e67533322e9c" providerId="AD" clId="Web-{AC0DAE67-4F91-B10D-8BF5-8735C47D871D}" dt="2025-03-07T21:27:27.211" v="235"/>
        <pc:sldMkLst>
          <pc:docMk/>
          <pc:sldMk cId="847511936" sldId="256"/>
        </pc:sldMkLst>
      </pc:sldChg>
      <pc:sldChg chg="modSp modNotes">
        <pc:chgData name="Walsh, Matthew (EOHLC)" userId="S::matthew.walsh@mass.gov::6b9d2727-13b7-4fba-bda7-e67533322e9c" providerId="AD" clId="Web-{AC0DAE67-4F91-B10D-8BF5-8735C47D871D}" dt="2025-03-07T21:30:34.483" v="367"/>
        <pc:sldMkLst>
          <pc:docMk/>
          <pc:sldMk cId="2718007075" sldId="2145705583"/>
        </pc:sldMkLst>
        <pc:graphicFrameChg chg="mod modGraphic">
          <ac:chgData name="Walsh, Matthew (EOHLC)" userId="S::matthew.walsh@mass.gov::6b9d2727-13b7-4fba-bda7-e67533322e9c" providerId="AD" clId="Web-{AC0DAE67-4F91-B10D-8BF5-8735C47D871D}" dt="2025-03-07T21:16:40.018" v="229"/>
          <ac:graphicFrameMkLst>
            <pc:docMk/>
            <pc:sldMk cId="2718007075" sldId="2145705583"/>
            <ac:graphicFrameMk id="3" creationId="{5028B61B-25D8-5187-F9E2-429ADA71341A}"/>
          </ac:graphicFrameMkLst>
        </pc:graphicFrameChg>
      </pc:sldChg>
      <pc:sldChg chg="modSp ord modNotes">
        <pc:chgData name="Walsh, Matthew (EOHLC)" userId="S::matthew.walsh@mass.gov::6b9d2727-13b7-4fba-bda7-e67533322e9c" providerId="AD" clId="Web-{AC0DAE67-4F91-B10D-8BF5-8735C47D871D}" dt="2025-03-07T21:36:29.228" v="621"/>
        <pc:sldMkLst>
          <pc:docMk/>
          <pc:sldMk cId="2091034526" sldId="2145705702"/>
        </pc:sldMkLst>
        <pc:spChg chg="mod">
          <ac:chgData name="Walsh, Matthew (EOHLC)" userId="S::matthew.walsh@mass.gov::6b9d2727-13b7-4fba-bda7-e67533322e9c" providerId="AD" clId="Web-{AC0DAE67-4F91-B10D-8BF5-8735C47D871D}" dt="2025-03-07T21:12:13.666" v="99" actId="20577"/>
          <ac:spMkLst>
            <pc:docMk/>
            <pc:sldMk cId="2091034526" sldId="2145705702"/>
            <ac:spMk id="4" creationId="{372202F3-A765-B91A-27D3-4A84739697F9}"/>
          </ac:spMkLst>
        </pc:spChg>
      </pc:sldChg>
      <pc:sldChg chg="modSp ord modNotes">
        <pc:chgData name="Walsh, Matthew (EOHLC)" userId="S::matthew.walsh@mass.gov::6b9d2727-13b7-4fba-bda7-e67533322e9c" providerId="AD" clId="Web-{AC0DAE67-4F91-B10D-8BF5-8735C47D871D}" dt="2025-03-07T21:44:28.524" v="1272"/>
        <pc:sldMkLst>
          <pc:docMk/>
          <pc:sldMk cId="3009510117" sldId="2145705719"/>
        </pc:sldMkLst>
        <pc:spChg chg="mod">
          <ac:chgData name="Walsh, Matthew (EOHLC)" userId="S::matthew.walsh@mass.gov::6b9d2727-13b7-4fba-bda7-e67533322e9c" providerId="AD" clId="Web-{AC0DAE67-4F91-B10D-8BF5-8735C47D871D}" dt="2025-03-07T21:26:59.741" v="233" actId="20577"/>
          <ac:spMkLst>
            <pc:docMk/>
            <pc:sldMk cId="3009510117" sldId="2145705719"/>
            <ac:spMk id="2" creationId="{43F18EC5-9759-7D09-3C52-2B13C9DEDFB5}"/>
          </ac:spMkLst>
        </pc:spChg>
      </pc:sldChg>
      <pc:sldChg chg="ord">
        <pc:chgData name="Walsh, Matthew (EOHLC)" userId="S::matthew.walsh@mass.gov::6b9d2727-13b7-4fba-bda7-e67533322e9c" providerId="AD" clId="Web-{AC0DAE67-4F91-B10D-8BF5-8735C47D871D}" dt="2025-03-07T21:17:04.347" v="230"/>
        <pc:sldMkLst>
          <pc:docMk/>
          <pc:sldMk cId="4121987089" sldId="2145705720"/>
        </pc:sldMkLst>
      </pc:sldChg>
      <pc:sldChg chg="modSp">
        <pc:chgData name="Walsh, Matthew (EOHLC)" userId="S::matthew.walsh@mass.gov::6b9d2727-13b7-4fba-bda7-e67533322e9c" providerId="AD" clId="Web-{AC0DAE67-4F91-B10D-8BF5-8735C47D871D}" dt="2025-03-07T21:49:21.986" v="1476" actId="20577"/>
        <pc:sldMkLst>
          <pc:docMk/>
          <pc:sldMk cId="1576472681" sldId="2145705723"/>
        </pc:sldMkLst>
        <pc:spChg chg="mod">
          <ac:chgData name="Walsh, Matthew (EOHLC)" userId="S::matthew.walsh@mass.gov::6b9d2727-13b7-4fba-bda7-e67533322e9c" providerId="AD" clId="Web-{AC0DAE67-4F91-B10D-8BF5-8735C47D871D}" dt="2025-03-07T21:47:58.937" v="1440" actId="20577"/>
          <ac:spMkLst>
            <pc:docMk/>
            <pc:sldMk cId="1576472681" sldId="2145705723"/>
            <ac:spMk id="3" creationId="{2E4DA4D3-AA7C-08FB-70E1-2389494B2323}"/>
          </ac:spMkLst>
        </pc:spChg>
        <pc:spChg chg="mod">
          <ac:chgData name="Walsh, Matthew (EOHLC)" userId="S::matthew.walsh@mass.gov::6b9d2727-13b7-4fba-bda7-e67533322e9c" providerId="AD" clId="Web-{AC0DAE67-4F91-B10D-8BF5-8735C47D871D}" dt="2025-03-07T21:49:21.986" v="1476" actId="20577"/>
          <ac:spMkLst>
            <pc:docMk/>
            <pc:sldMk cId="1576472681" sldId="2145705723"/>
            <ac:spMk id="5" creationId="{042EC54F-0F80-631C-EC10-B16FC6D3F7A4}"/>
          </ac:spMkLst>
        </pc:spChg>
        <pc:spChg chg="mod">
          <ac:chgData name="Walsh, Matthew (EOHLC)" userId="S::matthew.walsh@mass.gov::6b9d2727-13b7-4fba-bda7-e67533322e9c" providerId="AD" clId="Web-{AC0DAE67-4F91-B10D-8BF5-8735C47D871D}" dt="2025-03-07T21:15:30.344" v="124" actId="1076"/>
          <ac:spMkLst>
            <pc:docMk/>
            <pc:sldMk cId="1576472681" sldId="2145705723"/>
            <ac:spMk id="7" creationId="{43FDFA8C-4FCA-03D2-C24B-D2C5FB2867A3}"/>
          </ac:spMkLst>
        </pc:spChg>
        <pc:spChg chg="mod">
          <ac:chgData name="Walsh, Matthew (EOHLC)" userId="S::matthew.walsh@mass.gov::6b9d2727-13b7-4fba-bda7-e67533322e9c" providerId="AD" clId="Web-{AC0DAE67-4F91-B10D-8BF5-8735C47D871D}" dt="2025-03-07T21:15:30.329" v="123" actId="1076"/>
          <ac:spMkLst>
            <pc:docMk/>
            <pc:sldMk cId="1576472681" sldId="2145705723"/>
            <ac:spMk id="8" creationId="{3A85ED2A-56F7-937A-F2D9-1BB40DE9CC7B}"/>
          </ac:spMkLst>
        </pc:spChg>
      </pc:sldChg>
      <pc:sldChg chg="modNotes">
        <pc:chgData name="Walsh, Matthew (EOHLC)" userId="S::matthew.walsh@mass.gov::6b9d2727-13b7-4fba-bda7-e67533322e9c" providerId="AD" clId="Web-{AC0DAE67-4F91-B10D-8BF5-8735C47D871D}" dt="2025-03-07T21:53:05.900" v="1485"/>
        <pc:sldMkLst>
          <pc:docMk/>
          <pc:sldMk cId="1080336757" sldId="2145705724"/>
        </pc:sldMkLst>
      </pc:sldChg>
      <pc:sldChg chg="modSp">
        <pc:chgData name="Walsh, Matthew (EOHLC)" userId="S::matthew.walsh@mass.gov::6b9d2727-13b7-4fba-bda7-e67533322e9c" providerId="AD" clId="Web-{AC0DAE67-4F91-B10D-8BF5-8735C47D871D}" dt="2025-03-07T21:52:43.508" v="1481" actId="20577"/>
        <pc:sldMkLst>
          <pc:docMk/>
          <pc:sldMk cId="2343967245" sldId="2145705725"/>
        </pc:sldMkLst>
        <pc:spChg chg="mod">
          <ac:chgData name="Walsh, Matthew (EOHLC)" userId="S::matthew.walsh@mass.gov::6b9d2727-13b7-4fba-bda7-e67533322e9c" providerId="AD" clId="Web-{AC0DAE67-4F91-B10D-8BF5-8735C47D871D}" dt="2025-03-07T21:52:43.508" v="1481" actId="20577"/>
          <ac:spMkLst>
            <pc:docMk/>
            <pc:sldMk cId="2343967245" sldId="2145705725"/>
            <ac:spMk id="2" creationId="{76F656D5-C655-D8A4-436C-AF982FAC5526}"/>
          </ac:spMkLst>
        </pc:spChg>
      </pc:sldChg>
      <pc:sldChg chg="modSp ord modNotes">
        <pc:chgData name="Walsh, Matthew (EOHLC)" userId="S::matthew.walsh@mass.gov::6b9d2727-13b7-4fba-bda7-e67533322e9c" providerId="AD" clId="Web-{AC0DAE67-4F91-B10D-8BF5-8735C47D871D}" dt="2025-03-07T21:46:19.309" v="1390"/>
        <pc:sldMkLst>
          <pc:docMk/>
          <pc:sldMk cId="112296024" sldId="2145705728"/>
        </pc:sldMkLst>
        <pc:spChg chg="mod">
          <ac:chgData name="Walsh, Matthew (EOHLC)" userId="S::matthew.walsh@mass.gov::6b9d2727-13b7-4fba-bda7-e67533322e9c" providerId="AD" clId="Web-{AC0DAE67-4F91-B10D-8BF5-8735C47D871D}" dt="2025-03-07T21:15:05" v="121" actId="20577"/>
          <ac:spMkLst>
            <pc:docMk/>
            <pc:sldMk cId="112296024" sldId="2145705728"/>
            <ac:spMk id="3" creationId="{8FBA6990-57DC-EB3C-9F32-9F7B4F68DC4D}"/>
          </ac:spMkLst>
        </pc:spChg>
      </pc:sldChg>
      <pc:sldChg chg="ord">
        <pc:chgData name="Walsh, Matthew (EOHLC)" userId="S::matthew.walsh@mass.gov::6b9d2727-13b7-4fba-bda7-e67533322e9c" providerId="AD" clId="Web-{AC0DAE67-4F91-B10D-8BF5-8735C47D871D}" dt="2025-03-07T21:17:11.348" v="231"/>
        <pc:sldMkLst>
          <pc:docMk/>
          <pc:sldMk cId="1912954240" sldId="2145705733"/>
        </pc:sldMkLst>
      </pc:sldChg>
      <pc:sldChg chg="modNotes">
        <pc:chgData name="Walsh, Matthew (EOHLC)" userId="S::matthew.walsh@mass.gov::6b9d2727-13b7-4fba-bda7-e67533322e9c" providerId="AD" clId="Web-{AC0DAE67-4F91-B10D-8BF5-8735C47D871D}" dt="2025-03-07T21:44:50.431" v="1282"/>
        <pc:sldMkLst>
          <pc:docMk/>
          <pc:sldMk cId="2566936719" sldId="2145705740"/>
        </pc:sldMkLst>
      </pc:sldChg>
      <pc:sldChg chg="modNotes">
        <pc:chgData name="Walsh, Matthew (EOHLC)" userId="S::matthew.walsh@mass.gov::6b9d2727-13b7-4fba-bda7-e67533322e9c" providerId="AD" clId="Web-{AC0DAE67-4F91-B10D-8BF5-8735C47D871D}" dt="2025-03-07T21:53:55.573" v="1544"/>
        <pc:sldMkLst>
          <pc:docMk/>
          <pc:sldMk cId="418934407" sldId="2145705744"/>
        </pc:sldMkLst>
      </pc:sldChg>
      <pc:sldChg chg="modSp">
        <pc:chgData name="Walsh, Matthew (EOHLC)" userId="S::matthew.walsh@mass.gov::6b9d2727-13b7-4fba-bda7-e67533322e9c" providerId="AD" clId="Web-{AC0DAE67-4F91-B10D-8BF5-8735C47D871D}" dt="2025-03-07T21:10:49.647" v="71" actId="20577"/>
        <pc:sldMkLst>
          <pc:docMk/>
          <pc:sldMk cId="3685545330" sldId="2145705745"/>
        </pc:sldMkLst>
        <pc:spChg chg="mod">
          <ac:chgData name="Walsh, Matthew (EOHLC)" userId="S::matthew.walsh@mass.gov::6b9d2727-13b7-4fba-bda7-e67533322e9c" providerId="AD" clId="Web-{AC0DAE67-4F91-B10D-8BF5-8735C47D871D}" dt="2025-03-07T21:10:49.647" v="71" actId="20577"/>
          <ac:spMkLst>
            <pc:docMk/>
            <pc:sldMk cId="3685545330" sldId="2145705745"/>
            <ac:spMk id="3" creationId="{881174BC-53F0-B697-7675-7A4CD487D617}"/>
          </ac:spMkLst>
        </pc:spChg>
      </pc:sldChg>
      <pc:sldChg chg="add replId modNotes">
        <pc:chgData name="Walsh, Matthew (EOHLC)" userId="S::matthew.walsh@mass.gov::6b9d2727-13b7-4fba-bda7-e67533322e9c" providerId="AD" clId="Web-{AC0DAE67-4F91-B10D-8BF5-8735C47D871D}" dt="2025-03-07T21:46:59.841" v="1393"/>
        <pc:sldMkLst>
          <pc:docMk/>
          <pc:sldMk cId="3729129130" sldId="2145705746"/>
        </pc:sldMkLst>
      </pc:sldChg>
    </pc:docChg>
  </pc:docChgLst>
  <pc:docChgLst>
    <pc:chgData name="Walsh, Matthew (EOHLC)" userId="S::matthew.walsh@mass.gov::6b9d2727-13b7-4fba-bda7-e67533322e9c" providerId="AD" clId="Web-{8FCC9E7B-096B-D4AB-BA87-27BA01527649}"/>
    <pc:docChg chg="modSld">
      <pc:chgData name="Walsh, Matthew (EOHLC)" userId="S::matthew.walsh@mass.gov::6b9d2727-13b7-4fba-bda7-e67533322e9c" providerId="AD" clId="Web-{8FCC9E7B-096B-D4AB-BA87-27BA01527649}" dt="2025-03-05T19:07:40.433" v="436" actId="20577"/>
      <pc:docMkLst>
        <pc:docMk/>
      </pc:docMkLst>
    </pc:docChg>
  </pc:docChgLst>
  <pc:docChgLst>
    <pc:chgData name="Walsh, Matthew (EOHLC)" userId="S::matthew.walsh@mass.gov::6b9d2727-13b7-4fba-bda7-e67533322e9c" providerId="AD" clId="Web-{6AACD52B-3253-1DD1-45AA-DAEADAB60A8B}"/>
    <pc:docChg chg="addSld delSld modSld sldOrd">
      <pc:chgData name="Walsh, Matthew (EOHLC)" userId="S::matthew.walsh@mass.gov::6b9d2727-13b7-4fba-bda7-e67533322e9c" providerId="AD" clId="Web-{6AACD52B-3253-1DD1-45AA-DAEADAB60A8B}" dt="2025-02-21T20:38:10.432" v="335" actId="20577"/>
      <pc:docMkLst>
        <pc:docMk/>
      </pc:docMkLst>
      <pc:sldChg chg="addSp delSp modSp">
        <pc:chgData name="Walsh, Matthew (EOHLC)" userId="S::matthew.walsh@mass.gov::6b9d2727-13b7-4fba-bda7-e67533322e9c" providerId="AD" clId="Web-{6AACD52B-3253-1DD1-45AA-DAEADAB60A8B}" dt="2025-02-21T19:24:06.941" v="3" actId="20577"/>
        <pc:sldMkLst>
          <pc:docMk/>
          <pc:sldMk cId="847511936" sldId="256"/>
        </pc:sldMkLst>
        <pc:spChg chg="add del mod">
          <ac:chgData name="Walsh, Matthew (EOHLC)" userId="S::matthew.walsh@mass.gov::6b9d2727-13b7-4fba-bda7-e67533322e9c" providerId="AD" clId="Web-{6AACD52B-3253-1DD1-45AA-DAEADAB60A8B}" dt="2025-02-21T19:24:06.941" v="3" actId="20577"/>
          <ac:spMkLst>
            <pc:docMk/>
            <pc:sldMk cId="847511936" sldId="256"/>
            <ac:spMk id="2" creationId="{14325771-1314-5BF7-7213-1785A2AB17C0}"/>
          </ac:spMkLst>
        </pc:spChg>
      </pc:sldChg>
      <pc:sldChg chg="modSp">
        <pc:chgData name="Walsh, Matthew (EOHLC)" userId="S::matthew.walsh@mass.gov::6b9d2727-13b7-4fba-bda7-e67533322e9c" providerId="AD" clId="Web-{6AACD52B-3253-1DD1-45AA-DAEADAB60A8B}" dt="2025-02-21T19:46:35.549" v="252" actId="20577"/>
        <pc:sldMkLst>
          <pc:docMk/>
          <pc:sldMk cId="2091034526" sldId="2145705702"/>
        </pc:sldMkLst>
        <pc:spChg chg="mod">
          <ac:chgData name="Walsh, Matthew (EOHLC)" userId="S::matthew.walsh@mass.gov::6b9d2727-13b7-4fba-bda7-e67533322e9c" providerId="AD" clId="Web-{6AACD52B-3253-1DD1-45AA-DAEADAB60A8B}" dt="2025-02-21T19:46:35.549" v="252" actId="20577"/>
          <ac:spMkLst>
            <pc:docMk/>
            <pc:sldMk cId="2091034526" sldId="2145705702"/>
            <ac:spMk id="4" creationId="{372202F3-A765-B91A-27D3-4A84739697F9}"/>
          </ac:spMkLst>
        </pc:spChg>
      </pc:sldChg>
      <pc:sldChg chg="modSp">
        <pc:chgData name="Walsh, Matthew (EOHLC)" userId="S::matthew.walsh@mass.gov::6b9d2727-13b7-4fba-bda7-e67533322e9c" providerId="AD" clId="Web-{6AACD52B-3253-1DD1-45AA-DAEADAB60A8B}" dt="2025-02-21T20:38:10.432" v="335" actId="20577"/>
        <pc:sldMkLst>
          <pc:docMk/>
          <pc:sldMk cId="2343967245" sldId="2145705725"/>
        </pc:sldMkLst>
        <pc:spChg chg="mod">
          <ac:chgData name="Walsh, Matthew (EOHLC)" userId="S::matthew.walsh@mass.gov::6b9d2727-13b7-4fba-bda7-e67533322e9c" providerId="AD" clId="Web-{6AACD52B-3253-1DD1-45AA-DAEADAB60A8B}" dt="2025-02-21T20:38:10.432" v="335" actId="20577"/>
          <ac:spMkLst>
            <pc:docMk/>
            <pc:sldMk cId="2343967245" sldId="2145705725"/>
            <ac:spMk id="3" creationId="{FD3CEB0C-0EE2-94AD-67D6-7C57FA6A65E4}"/>
          </ac:spMkLst>
        </pc:spChg>
      </pc:sldChg>
      <pc:sldChg chg="delSp modSp new ord">
        <pc:chgData name="Walsh, Matthew (EOHLC)" userId="S::matthew.walsh@mass.gov::6b9d2727-13b7-4fba-bda7-e67533322e9c" providerId="AD" clId="Web-{6AACD52B-3253-1DD1-45AA-DAEADAB60A8B}" dt="2025-02-21T19:24:59.551" v="15" actId="1076"/>
        <pc:sldMkLst>
          <pc:docMk/>
          <pc:sldMk cId="112296024" sldId="2145705728"/>
        </pc:sldMkLst>
        <pc:spChg chg="mod">
          <ac:chgData name="Walsh, Matthew (EOHLC)" userId="S::matthew.walsh@mass.gov::6b9d2727-13b7-4fba-bda7-e67533322e9c" providerId="AD" clId="Web-{6AACD52B-3253-1DD1-45AA-DAEADAB60A8B}" dt="2025-02-21T19:24:59.551" v="15" actId="1076"/>
          <ac:spMkLst>
            <pc:docMk/>
            <pc:sldMk cId="112296024" sldId="2145705728"/>
            <ac:spMk id="3" creationId="{8FBA6990-57DC-EB3C-9F32-9F7B4F68DC4D}"/>
          </ac:spMkLst>
        </pc:spChg>
      </pc:sldChg>
      <pc:sldChg chg="modSp add replId">
        <pc:chgData name="Walsh, Matthew (EOHLC)" userId="S::matthew.walsh@mass.gov::6b9d2727-13b7-4fba-bda7-e67533322e9c" providerId="AD" clId="Web-{6AACD52B-3253-1DD1-45AA-DAEADAB60A8B}" dt="2025-02-21T20:36:42.246" v="319" actId="20577"/>
        <pc:sldMkLst>
          <pc:docMk/>
          <pc:sldMk cId="4268790590" sldId="2145705729"/>
        </pc:sldMkLst>
      </pc:sldChg>
      <pc:sldChg chg="modSp add replId">
        <pc:chgData name="Walsh, Matthew (EOHLC)" userId="S::matthew.walsh@mass.gov::6b9d2727-13b7-4fba-bda7-e67533322e9c" providerId="AD" clId="Web-{6AACD52B-3253-1DD1-45AA-DAEADAB60A8B}" dt="2025-02-21T20:37:16.589" v="321" actId="20577"/>
        <pc:sldMkLst>
          <pc:docMk/>
          <pc:sldMk cId="3539355562" sldId="2145705730"/>
        </pc:sldMkLst>
      </pc:sldChg>
      <pc:sldChg chg="new del">
        <pc:chgData name="Walsh, Matthew (EOHLC)" userId="S::matthew.walsh@mass.gov::6b9d2727-13b7-4fba-bda7-e67533322e9c" providerId="AD" clId="Web-{6AACD52B-3253-1DD1-45AA-DAEADAB60A8B}" dt="2025-02-21T20:35:40.168" v="299"/>
        <pc:sldMkLst>
          <pc:docMk/>
          <pc:sldMk cId="3502980173" sldId="2145705731"/>
        </pc:sldMkLst>
      </pc:sldChg>
      <pc:sldChg chg="modSp add ord replId">
        <pc:chgData name="Walsh, Matthew (EOHLC)" userId="S::matthew.walsh@mass.gov::6b9d2727-13b7-4fba-bda7-e67533322e9c" providerId="AD" clId="Web-{6AACD52B-3253-1DD1-45AA-DAEADAB60A8B}" dt="2025-02-21T20:37:39.542" v="323" actId="20577"/>
        <pc:sldMkLst>
          <pc:docMk/>
          <pc:sldMk cId="4211036557" sldId="2145705731"/>
        </pc:sldMkLst>
      </pc:sldChg>
    </pc:docChg>
  </pc:docChgLst>
  <pc:docChgLst>
    <pc:chgData name="Walsh, Matthew (EOHLC)" userId="S::matthew.walsh@mass.gov::6b9d2727-13b7-4fba-bda7-e67533322e9c" providerId="AD" clId="Web-{AA1BCDD1-422B-FA98-F8E9-66CC9D72BA28}"/>
    <pc:docChg chg="modSld">
      <pc:chgData name="Walsh, Matthew (EOHLC)" userId="S::matthew.walsh@mass.gov::6b9d2727-13b7-4fba-bda7-e67533322e9c" providerId="AD" clId="Web-{AA1BCDD1-422B-FA98-F8E9-66CC9D72BA28}" dt="2025-03-03T16:03:09.335" v="25"/>
      <pc:docMkLst>
        <pc:docMk/>
      </pc:docMkLst>
    </pc:docChg>
  </pc:docChgLst>
  <pc:docChgLst>
    <pc:chgData name="Walsh, Matthew (EOHLC)" userId="S::matthew.walsh@mass.gov::6b9d2727-13b7-4fba-bda7-e67533322e9c" providerId="AD" clId="Web-{9E906C2B-65C8-0B5C-9C65-5794BC3C39B4}"/>
    <pc:docChg chg="addSld modSld sldOrd">
      <pc:chgData name="Walsh, Matthew (EOHLC)" userId="S::matthew.walsh@mass.gov::6b9d2727-13b7-4fba-bda7-e67533322e9c" providerId="AD" clId="Web-{9E906C2B-65C8-0B5C-9C65-5794BC3C39B4}" dt="2025-02-25T22:25:39.745" v="574" actId="20577"/>
      <pc:docMkLst>
        <pc:docMk/>
      </pc:docMkLst>
      <pc:sldChg chg="modSp">
        <pc:chgData name="Walsh, Matthew (EOHLC)" userId="S::matthew.walsh@mass.gov::6b9d2727-13b7-4fba-bda7-e67533322e9c" providerId="AD" clId="Web-{9E906C2B-65C8-0B5C-9C65-5794BC3C39B4}" dt="2025-02-25T18:37:15.160" v="117" actId="20577"/>
        <pc:sldMkLst>
          <pc:docMk/>
          <pc:sldMk cId="847511936" sldId="256"/>
        </pc:sldMkLst>
        <pc:spChg chg="mod">
          <ac:chgData name="Walsh, Matthew (EOHLC)" userId="S::matthew.walsh@mass.gov::6b9d2727-13b7-4fba-bda7-e67533322e9c" providerId="AD" clId="Web-{9E906C2B-65C8-0B5C-9C65-5794BC3C39B4}" dt="2025-02-25T18:37:15.160" v="117" actId="20577"/>
          <ac:spMkLst>
            <pc:docMk/>
            <pc:sldMk cId="847511936" sldId="256"/>
            <ac:spMk id="4" creationId="{F9D1A61C-8CFC-7695-51FC-A864F0CF7918}"/>
          </ac:spMkLst>
        </pc:spChg>
      </pc:sldChg>
      <pc:sldChg chg="modSp">
        <pc:chgData name="Walsh, Matthew (EOHLC)" userId="S::matthew.walsh@mass.gov::6b9d2727-13b7-4fba-bda7-e67533322e9c" providerId="AD" clId="Web-{9E906C2B-65C8-0B5C-9C65-5794BC3C39B4}" dt="2025-02-25T18:28:37.128" v="89"/>
        <pc:sldMkLst>
          <pc:docMk/>
          <pc:sldMk cId="2718007075" sldId="2145705583"/>
        </pc:sldMkLst>
        <pc:graphicFrameChg chg="mod modGraphic">
          <ac:chgData name="Walsh, Matthew (EOHLC)" userId="S::matthew.walsh@mass.gov::6b9d2727-13b7-4fba-bda7-e67533322e9c" providerId="AD" clId="Web-{9E906C2B-65C8-0B5C-9C65-5794BC3C39B4}" dt="2025-02-25T18:28:37.128" v="89"/>
          <ac:graphicFrameMkLst>
            <pc:docMk/>
            <pc:sldMk cId="2718007075" sldId="2145705583"/>
            <ac:graphicFrameMk id="3" creationId="{5028B61B-25D8-5187-F9E2-429ADA71341A}"/>
          </ac:graphicFrameMkLst>
        </pc:graphicFrameChg>
      </pc:sldChg>
      <pc:sldChg chg="modSp">
        <pc:chgData name="Walsh, Matthew (EOHLC)" userId="S::matthew.walsh@mass.gov::6b9d2727-13b7-4fba-bda7-e67533322e9c" providerId="AD" clId="Web-{9E906C2B-65C8-0B5C-9C65-5794BC3C39B4}" dt="2025-02-25T18:28:52.597" v="98" actId="1076"/>
        <pc:sldMkLst>
          <pc:docMk/>
          <pc:sldMk cId="2091034526" sldId="2145705702"/>
        </pc:sldMkLst>
        <pc:spChg chg="mod">
          <ac:chgData name="Walsh, Matthew (EOHLC)" userId="S::matthew.walsh@mass.gov::6b9d2727-13b7-4fba-bda7-e67533322e9c" providerId="AD" clId="Web-{9E906C2B-65C8-0B5C-9C65-5794BC3C39B4}" dt="2025-02-25T18:28:52.597" v="98" actId="1076"/>
          <ac:spMkLst>
            <pc:docMk/>
            <pc:sldMk cId="2091034526" sldId="2145705702"/>
            <ac:spMk id="4" creationId="{372202F3-A765-B91A-27D3-4A84739697F9}"/>
          </ac:spMkLst>
        </pc:spChg>
      </pc:sldChg>
      <pc:sldChg chg="modSp">
        <pc:chgData name="Walsh, Matthew (EOHLC)" userId="S::matthew.walsh@mass.gov::6b9d2727-13b7-4fba-bda7-e67533322e9c" providerId="AD" clId="Web-{9E906C2B-65C8-0B5C-9C65-5794BC3C39B4}" dt="2025-02-25T18:27:18.941" v="38" actId="20577"/>
        <pc:sldMkLst>
          <pc:docMk/>
          <pc:sldMk cId="4121987089" sldId="2145705720"/>
        </pc:sldMkLst>
      </pc:sldChg>
      <pc:sldChg chg="addSp modSp">
        <pc:chgData name="Walsh, Matthew (EOHLC)" userId="S::matthew.walsh@mass.gov::6b9d2727-13b7-4fba-bda7-e67533322e9c" providerId="AD" clId="Web-{9E906C2B-65C8-0B5C-9C65-5794BC3C39B4}" dt="2025-02-25T22:25:39.745" v="574" actId="20577"/>
        <pc:sldMkLst>
          <pc:docMk/>
          <pc:sldMk cId="4211036557" sldId="2145705731"/>
        </pc:sldMkLst>
        <pc:spChg chg="mod">
          <ac:chgData name="Walsh, Matthew (EOHLC)" userId="S::matthew.walsh@mass.gov::6b9d2727-13b7-4fba-bda7-e67533322e9c" providerId="AD" clId="Web-{9E906C2B-65C8-0B5C-9C65-5794BC3C39B4}" dt="2025-02-25T22:14:30.347" v="525" actId="20577"/>
          <ac:spMkLst>
            <pc:docMk/>
            <pc:sldMk cId="4211036557" sldId="2145705731"/>
            <ac:spMk id="5" creationId="{DEC7B028-D721-4E47-5064-8FA422380651}"/>
          </ac:spMkLst>
        </pc:spChg>
      </pc:sldChg>
      <pc:sldChg chg="modSp ord">
        <pc:chgData name="Walsh, Matthew (EOHLC)" userId="S::matthew.walsh@mass.gov::6b9d2727-13b7-4fba-bda7-e67533322e9c" providerId="AD" clId="Web-{9E906C2B-65C8-0B5C-9C65-5794BC3C39B4}" dt="2025-02-25T18:27:54.144" v="65" actId="20577"/>
        <pc:sldMkLst>
          <pc:docMk/>
          <pc:sldMk cId="1912954240" sldId="2145705733"/>
        </pc:sldMkLst>
      </pc:sldChg>
      <pc:sldChg chg="add replId">
        <pc:chgData name="Walsh, Matthew (EOHLC)" userId="S::matthew.walsh@mass.gov::6b9d2727-13b7-4fba-bda7-e67533322e9c" providerId="AD" clId="Web-{9E906C2B-65C8-0B5C-9C65-5794BC3C39B4}" dt="2025-02-25T18:26:29.300" v="0"/>
        <pc:sldMkLst>
          <pc:docMk/>
          <pc:sldMk cId="2566936719" sldId="2145705740"/>
        </pc:sldMkLst>
      </pc:sldChg>
      <pc:sldChg chg="add replId">
        <pc:chgData name="Walsh, Matthew (EOHLC)" userId="S::matthew.walsh@mass.gov::6b9d2727-13b7-4fba-bda7-e67533322e9c" providerId="AD" clId="Web-{9E906C2B-65C8-0B5C-9C65-5794BC3C39B4}" dt="2025-02-25T18:27:27.410" v="39"/>
        <pc:sldMkLst>
          <pc:docMk/>
          <pc:sldMk cId="4193408303" sldId="2145705741"/>
        </pc:sldMkLst>
      </pc:sldChg>
    </pc:docChg>
  </pc:docChgLst>
  <pc:docChgLst>
    <pc:chgData name="Bryant, Benjamin (EOHLC)" userId="S::benjamin.bryant@mass.gov::d9f20d2d-3d0a-4c4c-bc1c-5d95aab57509" providerId="AD" clId="Web-{A17CE913-0646-496A-8376-730C2568F38E}"/>
    <pc:docChg chg="modSld">
      <pc:chgData name="Bryant, Benjamin (EOHLC)" userId="S::benjamin.bryant@mass.gov::d9f20d2d-3d0a-4c4c-bc1c-5d95aab57509" providerId="AD" clId="Web-{A17CE913-0646-496A-8376-730C2568F38E}" dt="2025-03-11T15:55:18.202" v="4" actId="20577"/>
      <pc:docMkLst>
        <pc:docMk/>
      </pc:docMkLst>
      <pc:sldChg chg="modSp">
        <pc:chgData name="Bryant, Benjamin (EOHLC)" userId="S::benjamin.bryant@mass.gov::d9f20d2d-3d0a-4c4c-bc1c-5d95aab57509" providerId="AD" clId="Web-{A17CE913-0646-496A-8376-730C2568F38E}" dt="2025-03-11T15:55:18.202" v="4" actId="20577"/>
        <pc:sldMkLst>
          <pc:docMk/>
          <pc:sldMk cId="3682032961" sldId="2145705747"/>
        </pc:sldMkLst>
        <pc:spChg chg="mod">
          <ac:chgData name="Bryant, Benjamin (EOHLC)" userId="S::benjamin.bryant@mass.gov::d9f20d2d-3d0a-4c4c-bc1c-5d95aab57509" providerId="AD" clId="Web-{A17CE913-0646-496A-8376-730C2568F38E}" dt="2025-03-11T15:55:18.202" v="4" actId="20577"/>
          <ac:spMkLst>
            <pc:docMk/>
            <pc:sldMk cId="3682032961" sldId="2145705747"/>
            <ac:spMk id="2" creationId="{0EC70DEE-29BA-8700-3352-6C4974E01A5A}"/>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https://massgov.sharepoint.com/sites/OCD-TEAMS-AHAImplementation/Shared%20Documents/General/2.%20Workstreams/5.%20Exec%20Team/Seasonal%20Communities/Data%20Analysis/SeasonalComm_DataAnalysis.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https://massgov.sharepoint.com/sites/OCD-TEAMS-AHAImplementation/Shared%20Documents/General/2.%20Workstreams/5.%20Exec%20Team/Seasonal%20Communities/Data%20Analysis/Cost_AMI_Ratio_Analysi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Segoe UI" panose="020B0502040204020203" pitchFamily="34" charset="0"/>
                <a:ea typeface="+mn-ea"/>
                <a:cs typeface="Segoe UI" panose="020B0502040204020203" pitchFamily="34" charset="0"/>
              </a:defRPr>
            </a:pPr>
            <a:r>
              <a:rPr lang="en-US" sz="1600"/>
              <a:t>Registered, primary Short Term Rentals, </a:t>
            </a:r>
            <a:br>
              <a:rPr lang="en-US" sz="1600"/>
            </a:br>
            <a:r>
              <a:rPr lang="en-US" sz="1600"/>
              <a:t>by RPA region</a:t>
            </a: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Segoe UI" panose="020B0502040204020203" pitchFamily="34" charset="0"/>
              <a:ea typeface="+mn-ea"/>
              <a:cs typeface="Segoe UI" panose="020B0502040204020203" pitchFamily="34" charset="0"/>
            </a:defRPr>
          </a:pPr>
          <a:endParaRPr lang="en-US"/>
        </a:p>
      </c:txPr>
    </c:title>
    <c:autoTitleDeleted val="0"/>
    <c:plotArea>
      <c:layout>
        <c:manualLayout>
          <c:layoutTarget val="inner"/>
          <c:xMode val="edge"/>
          <c:yMode val="edge"/>
          <c:x val="0.14501036590022837"/>
          <c:y val="0.13021702117019124"/>
          <c:w val="0.60247364803313541"/>
          <c:h val="0.61864854481929299"/>
        </c:manualLayout>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539-4EA6-9DFE-7C8F0BFCA0D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539-4EA6-9DFE-7C8F0BFCA0D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539-4EA6-9DFE-7C8F0BFCA0D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9539-4EA6-9DFE-7C8F0BFCA0D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9539-4EA6-9DFE-7C8F0BFCA0D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9539-4EA6-9DFE-7C8F0BFCA0DE}"/>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9539-4EA6-9DFE-7C8F0BFCA0DE}"/>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9539-4EA6-9DFE-7C8F0BFCA0DE}"/>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9539-4EA6-9DFE-7C8F0BFCA0DE}"/>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9539-4EA6-9DFE-7C8F0BFCA0DE}"/>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9539-4EA6-9DFE-7C8F0BFCA0DE}"/>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17-9539-4EA6-9DFE-7C8F0BFCA0DE}"/>
              </c:ext>
            </c:extLst>
          </c:dPt>
          <c:dPt>
            <c:idx val="12"/>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19-9539-4EA6-9DFE-7C8F0BFCA0DE}"/>
              </c:ext>
            </c:extLst>
          </c:dPt>
          <c:dLbls>
            <c:dLbl>
              <c:idx val="0"/>
              <c:layout>
                <c:manualLayout>
                  <c:x val="-6.2823908375089485E-2"/>
                  <c:y val="-0.17470934429964743"/>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9539-4EA6-9DFE-7C8F0BFCA0DE}"/>
                </c:ext>
              </c:extLst>
            </c:dLbl>
            <c:dLbl>
              <c:idx val="1"/>
              <c:layout>
                <c:manualLayout>
                  <c:x val="0.13781563171080888"/>
                  <c:y val="7.2693929567577295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9539-4EA6-9DFE-7C8F0BFCA0DE}"/>
                </c:ext>
              </c:extLst>
            </c:dLbl>
            <c:dLbl>
              <c:idx val="2"/>
              <c:layout>
                <c:manualLayout>
                  <c:x val="3.8888888888888785E-2"/>
                  <c:y val="-6.8136263943791341E-3"/>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9539-4EA6-9DFE-7C8F0BFCA0DE}"/>
                </c:ext>
              </c:extLst>
            </c:dLbl>
            <c:dLbl>
              <c:idx val="3"/>
              <c:layout>
                <c:manualLayout>
                  <c:x val="0.11388888888888879"/>
                  <c:y val="-2.8908680701262141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9539-4EA6-9DFE-7C8F0BFCA0DE}"/>
                </c:ext>
              </c:extLst>
            </c:dLbl>
            <c:dLbl>
              <c:idx val="4"/>
              <c:layout>
                <c:manualLayout>
                  <c:x val="0.13819445687186818"/>
                  <c:y val="-5.8097350410590616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9539-4EA6-9DFE-7C8F0BFCA0DE}"/>
                </c:ext>
              </c:extLst>
            </c:dLbl>
            <c:dLbl>
              <c:idx val="5"/>
              <c:layout>
                <c:manualLayout>
                  <c:x val="0.16330412267358627"/>
                  <c:y val="-1.4141434284281456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18877538922691478"/>
                      <c:h val="8.6016841652790749E-2"/>
                    </c:manualLayout>
                  </c15:layout>
                </c:ext>
                <c:ext xmlns:c16="http://schemas.microsoft.com/office/drawing/2014/chart" uri="{C3380CC4-5D6E-409C-BE32-E72D297353CC}">
                  <c16:uniqueId val="{0000000B-9539-4EA6-9DFE-7C8F0BFCA0DE}"/>
                </c:ext>
              </c:extLst>
            </c:dLbl>
            <c:dLbl>
              <c:idx val="6"/>
              <c:layout>
                <c:manualLayout>
                  <c:x val="0.28267213224767368"/>
                  <c:y val="7.5058651833190604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D-9539-4EA6-9DFE-7C8F0BFCA0DE}"/>
                </c:ext>
              </c:extLst>
            </c:dLbl>
            <c:dLbl>
              <c:idx val="7"/>
              <c:layout>
                <c:manualLayout>
                  <c:x val="0.32592804024496935"/>
                  <c:y val="0.14697737282223508"/>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F-9539-4EA6-9DFE-7C8F0BFCA0DE}"/>
                </c:ext>
              </c:extLst>
            </c:dLbl>
            <c:dLbl>
              <c:idx val="8"/>
              <c:layout>
                <c:manualLayout>
                  <c:x val="0.16634316839656407"/>
                  <c:y val="0.15224328259714343"/>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17778039996420902"/>
                      <c:h val="8.2787805736413325E-2"/>
                    </c:manualLayout>
                  </c15:layout>
                </c:ext>
                <c:ext xmlns:c16="http://schemas.microsoft.com/office/drawing/2014/chart" uri="{C3380CC4-5D6E-409C-BE32-E72D297353CC}">
                  <c16:uniqueId val="{00000011-9539-4EA6-9DFE-7C8F0BFCA0DE}"/>
                </c:ext>
              </c:extLst>
            </c:dLbl>
            <c:dLbl>
              <c:idx val="9"/>
              <c:layout>
                <c:manualLayout>
                  <c:x val="6.8182633420822397E-2"/>
                  <c:y val="0.15232848701625631"/>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13-9539-4EA6-9DFE-7C8F0BFCA0DE}"/>
                </c:ext>
              </c:extLst>
            </c:dLbl>
            <c:dLbl>
              <c:idx val="10"/>
              <c:layout>
                <c:manualLayout>
                  <c:x val="-4.4545494313210851E-2"/>
                  <c:y val="0.1522435451936828"/>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15-9539-4EA6-9DFE-7C8F0BFCA0DE}"/>
                </c:ext>
              </c:extLst>
            </c:dLbl>
            <c:dLbl>
              <c:idx val="11"/>
              <c:layout>
                <c:manualLayout>
                  <c:x val="-0.17976552930883641"/>
                  <c:y val="0.15504552219805609"/>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17-9539-4EA6-9DFE-7C8F0BFCA0DE}"/>
                </c:ext>
              </c:extLst>
            </c:dLbl>
            <c:dLbl>
              <c:idx val="12"/>
              <c:layout>
                <c:manualLayout>
                  <c:x val="-0.33314195100612426"/>
                  <c:y val="0.11660890622731647"/>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16036023622047244"/>
                      <c:h val="0.10543508525290819"/>
                    </c:manualLayout>
                  </c15:layout>
                </c:ext>
                <c:ext xmlns:c16="http://schemas.microsoft.com/office/drawing/2014/chart" uri="{C3380CC4-5D6E-409C-BE32-E72D297353CC}">
                  <c16:uniqueId val="{00000019-9539-4EA6-9DFE-7C8F0BFCA0DE}"/>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1100" b="0" i="0" u="none" strike="noStrike" kern="1200" baseline="0">
                    <a:solidFill>
                      <a:schemeClr val="dk1">
                        <a:lumMod val="65000"/>
                        <a:lumOff val="35000"/>
                      </a:schemeClr>
                    </a:solidFill>
                    <a:latin typeface="Segoe UI" panose="020B0502040204020203" pitchFamily="34" charset="0"/>
                    <a:ea typeface="+mn-ea"/>
                    <a:cs typeface="Segoe UI" panose="020B0502040204020203" pitchFamily="34" charset="0"/>
                  </a:defRPr>
                </a:pPr>
                <a:endParaRPr lang="en-US"/>
              </a:p>
            </c:txPr>
            <c:dLblPos val="outEnd"/>
            <c:showLegendKey val="0"/>
            <c:showVal val="1"/>
            <c:showCatName val="1"/>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A$2:$A$14</c:f>
              <c:strCache>
                <c:ptCount val="13"/>
                <c:pt idx="0">
                  <c:v>Cape Cod</c:v>
                </c:pt>
                <c:pt idx="1">
                  <c:v>MAPC</c:v>
                </c:pt>
                <c:pt idx="2">
                  <c:v>Martha's Vineyard</c:v>
                </c:pt>
                <c:pt idx="3">
                  <c:v>Nantucket</c:v>
                </c:pt>
                <c:pt idx="4">
                  <c:v>Berkshire Co.</c:v>
                </c:pt>
                <c:pt idx="5">
                  <c:v>Southeast Region</c:v>
                </c:pt>
                <c:pt idx="6">
                  <c:v>Pioneer Valley</c:v>
                </c:pt>
                <c:pt idx="7">
                  <c:v>Old Colony</c:v>
                </c:pt>
                <c:pt idx="8">
                  <c:v>Merrimack Valley</c:v>
                </c:pt>
                <c:pt idx="9">
                  <c:v>Central Mass</c:v>
                </c:pt>
                <c:pt idx="10">
                  <c:v>Franklin Co. </c:v>
                </c:pt>
                <c:pt idx="11">
                  <c:v>Montachusset</c:v>
                </c:pt>
                <c:pt idx="12">
                  <c:v>Northern Middlesex</c:v>
                </c:pt>
              </c:strCache>
            </c:strRef>
          </c:cat>
          <c:val>
            <c:numRef>
              <c:f>Sheet1!$B$2:$B$14</c:f>
              <c:numCache>
                <c:formatCode>#,##0</c:formatCode>
                <c:ptCount val="13"/>
                <c:pt idx="0">
                  <c:v>16800</c:v>
                </c:pt>
                <c:pt idx="1">
                  <c:v>5900</c:v>
                </c:pt>
                <c:pt idx="2">
                  <c:v>3600</c:v>
                </c:pt>
                <c:pt idx="3">
                  <c:v>2700</c:v>
                </c:pt>
                <c:pt idx="4">
                  <c:v>1800</c:v>
                </c:pt>
                <c:pt idx="5" formatCode="General">
                  <c:v>870</c:v>
                </c:pt>
                <c:pt idx="6" formatCode="General">
                  <c:v>570</c:v>
                </c:pt>
                <c:pt idx="7" formatCode="General">
                  <c:v>540</c:v>
                </c:pt>
                <c:pt idx="8" formatCode="General">
                  <c:v>510</c:v>
                </c:pt>
                <c:pt idx="9" formatCode="General">
                  <c:v>350</c:v>
                </c:pt>
                <c:pt idx="10" formatCode="General">
                  <c:v>230</c:v>
                </c:pt>
                <c:pt idx="11" formatCode="General">
                  <c:v>110</c:v>
                </c:pt>
                <c:pt idx="12" formatCode="General">
                  <c:v>110</c:v>
                </c:pt>
              </c:numCache>
            </c:numRef>
          </c:val>
          <c:extLst>
            <c:ext xmlns:c16="http://schemas.microsoft.com/office/drawing/2014/chart" uri="{C3380CC4-5D6E-409C-BE32-E72D297353CC}">
              <c16:uniqueId val="{0000001A-9539-4EA6-9DFE-7C8F0BFCA0DE}"/>
            </c:ext>
          </c:extLst>
        </c:ser>
        <c:dLbls>
          <c:showLegendKey val="0"/>
          <c:showVal val="0"/>
          <c:showCatName val="0"/>
          <c:showSerName val="0"/>
          <c:showPercent val="0"/>
          <c:showBubbleSize val="0"/>
          <c:showLeaderLines val="0"/>
        </c:dLbls>
        <c:firstSliceAng val="18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Segoe UI" panose="020B0502040204020203" pitchFamily="34" charset="0"/>
          <a:cs typeface="Segoe UI" panose="020B0502040204020203" pitchFamily="34"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Segoe UI" panose="020B0502040204020203" pitchFamily="34" charset="0"/>
                <a:ea typeface="+mn-ea"/>
                <a:cs typeface="Segoe UI" panose="020B0502040204020203" pitchFamily="34" charset="0"/>
              </a:defRPr>
            </a:pPr>
            <a:r>
              <a:rPr lang="en-US"/>
              <a:t>Annual Housing Costs for a Median-Priced Home</a:t>
            </a:r>
            <a:br>
              <a:rPr lang="en-US"/>
            </a:br>
            <a:r>
              <a:rPr lang="en-US"/>
              <a:t> Examples where its affordable to an Area Median Income household</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Segoe UI" panose="020B0502040204020203" pitchFamily="34" charset="0"/>
              <a:ea typeface="+mn-ea"/>
              <a:cs typeface="Segoe UI" panose="020B0502040204020203" pitchFamily="34" charset="0"/>
            </a:defRPr>
          </a:pPr>
          <a:endParaRPr lang="en-US"/>
        </a:p>
      </c:txPr>
    </c:title>
    <c:autoTitleDeleted val="0"/>
    <c:plotArea>
      <c:layout>
        <c:manualLayout>
          <c:layoutTarget val="inner"/>
          <c:xMode val="edge"/>
          <c:yMode val="edge"/>
          <c:x val="0.13608093927253201"/>
          <c:y val="0.15973693346890133"/>
          <c:w val="0.72977852787920638"/>
          <c:h val="0.60945324872365636"/>
        </c:manualLayout>
      </c:layout>
      <c:barChart>
        <c:barDir val="col"/>
        <c:grouping val="stacked"/>
        <c:varyColors val="0"/>
        <c:ser>
          <c:idx val="2"/>
          <c:order val="0"/>
          <c:tx>
            <c:v>Principal and Interest</c:v>
          </c:tx>
          <c:spPr>
            <a:solidFill>
              <a:srgbClr val="F6C51B"/>
            </a:solidFill>
            <a:ln>
              <a:solidFill>
                <a:srgbClr val="FFFFFF">
                  <a:lumMod val="50000"/>
                </a:srgbClr>
              </a:solidFill>
            </a:ln>
            <a:effectLst/>
          </c:spPr>
          <c:invertIfNegative val="0"/>
          <c:cat>
            <c:strRef>
              <c:f>Sheet2!$Q$5:$Q$45</c:f>
              <c:strCache>
                <c:ptCount val="5"/>
                <c:pt idx="0">
                  <c:v>Boston Region 
Mature Suburb
$560,000</c:v>
                </c:pt>
                <c:pt idx="1">
                  <c:v>Boston Region
Metro Core 
$580,000</c:v>
                </c:pt>
                <c:pt idx="2">
                  <c:v>Central Mass
Developing Suburb
$475,000</c:v>
                </c:pt>
                <c:pt idx="3">
                  <c:v>Pioneer Valley 
Rural Town
$390,000</c:v>
                </c:pt>
                <c:pt idx="4">
                  <c:v>Berkshire County
Rural Town
$340,000</c:v>
                </c:pt>
              </c:strCache>
            </c:strRef>
          </c:cat>
          <c:val>
            <c:numRef>
              <c:f>Sheet2!$N$2:$N$47</c:f>
              <c:numCache>
                <c:formatCode>"$"#,##0_);[Red]\("$"#,##0\)</c:formatCode>
                <c:ptCount val="5"/>
                <c:pt idx="0">
                  <c:v>34524.875528869117</c:v>
                </c:pt>
                <c:pt idx="1">
                  <c:v>35600.39633716832</c:v>
                </c:pt>
                <c:pt idx="2">
                  <c:v>29100.349332521502</c:v>
                </c:pt>
                <c:pt idx="3">
                  <c:v>23920.710920654536</c:v>
                </c:pt>
                <c:pt idx="4">
                  <c:v>20801.967408191183</c:v>
                </c:pt>
              </c:numCache>
            </c:numRef>
          </c:val>
          <c:extLst>
            <c:ext xmlns:c16="http://schemas.microsoft.com/office/drawing/2014/chart" uri="{C3380CC4-5D6E-409C-BE32-E72D297353CC}">
              <c16:uniqueId val="{00000000-411F-41FE-BF12-66440D19B296}"/>
            </c:ext>
          </c:extLst>
        </c:ser>
        <c:ser>
          <c:idx val="0"/>
          <c:order val="1"/>
          <c:tx>
            <c:v>Property Tax</c:v>
          </c:tx>
          <c:spPr>
            <a:solidFill>
              <a:srgbClr val="92D050"/>
            </a:solidFill>
            <a:ln>
              <a:solidFill>
                <a:srgbClr val="FFFFFF">
                  <a:lumMod val="50000"/>
                </a:srgbClr>
              </a:solidFill>
            </a:ln>
            <a:effectLst/>
          </c:spPr>
          <c:invertIfNegative val="0"/>
          <c:cat>
            <c:strRef>
              <c:f>Sheet2!$Q$5:$Q$45</c:f>
              <c:strCache>
                <c:ptCount val="5"/>
                <c:pt idx="0">
                  <c:v>Boston Region 
Mature Suburb
$560,000</c:v>
                </c:pt>
                <c:pt idx="1">
                  <c:v>Boston Region
Metro Core 
$580,000</c:v>
                </c:pt>
                <c:pt idx="2">
                  <c:v>Central Mass
Developing Suburb
$475,000</c:v>
                </c:pt>
                <c:pt idx="3">
                  <c:v>Pioneer Valley 
Rural Town
$390,000</c:v>
                </c:pt>
                <c:pt idx="4">
                  <c:v>Berkshire County
Rural Town
$340,000</c:v>
                </c:pt>
              </c:strCache>
            </c:strRef>
          </c:cat>
          <c:val>
            <c:numRef>
              <c:f>Sheet2!$H$2:$H$47</c:f>
              <c:numCache>
                <c:formatCode>_("$"* #,##0_);_("$"* \(#,##0\);_("$"* "-"??_);_(@_)</c:formatCode>
                <c:ptCount val="5"/>
                <c:pt idx="0">
                  <c:v>10040.222072060589</c:v>
                </c:pt>
                <c:pt idx="1">
                  <c:v>5266.4986124232564</c:v>
                </c:pt>
                <c:pt idx="2">
                  <c:v>5282.6668254175356</c:v>
                </c:pt>
                <c:pt idx="3">
                  <c:v>2914.436105760587</c:v>
                </c:pt>
                <c:pt idx="4">
                  <c:v>4695.7001402144515</c:v>
                </c:pt>
              </c:numCache>
            </c:numRef>
          </c:val>
          <c:extLst>
            <c:ext xmlns:c16="http://schemas.microsoft.com/office/drawing/2014/chart" uri="{C3380CC4-5D6E-409C-BE32-E72D297353CC}">
              <c16:uniqueId val="{00000001-411F-41FE-BF12-66440D19B296}"/>
            </c:ext>
          </c:extLst>
        </c:ser>
        <c:ser>
          <c:idx val="1"/>
          <c:order val="2"/>
          <c:tx>
            <c:strRef>
              <c:f>Sheet2!$I$1</c:f>
              <c:strCache>
                <c:ptCount val="1"/>
                <c:pt idx="0">
                  <c:v>Insurance</c:v>
                </c:pt>
              </c:strCache>
            </c:strRef>
          </c:tx>
          <c:spPr>
            <a:solidFill>
              <a:srgbClr val="3E92CF">
                <a:lumMod val="50000"/>
              </a:srgbClr>
            </a:solidFill>
            <a:ln>
              <a:solidFill>
                <a:srgbClr val="FFFFFF">
                  <a:lumMod val="50000"/>
                </a:srgbClr>
              </a:solidFill>
            </a:ln>
            <a:effectLst/>
          </c:spPr>
          <c:invertIfNegative val="0"/>
          <c:cat>
            <c:strRef>
              <c:f>Sheet2!$Q$5:$Q$45</c:f>
              <c:strCache>
                <c:ptCount val="5"/>
                <c:pt idx="0">
                  <c:v>Boston Region 
Mature Suburb
$560,000</c:v>
                </c:pt>
                <c:pt idx="1">
                  <c:v>Boston Region
Metro Core 
$580,000</c:v>
                </c:pt>
                <c:pt idx="2">
                  <c:v>Central Mass
Developing Suburb
$475,000</c:v>
                </c:pt>
                <c:pt idx="3">
                  <c:v>Pioneer Valley 
Rural Town
$390,000</c:v>
                </c:pt>
                <c:pt idx="4">
                  <c:v>Berkshire County
Rural Town
$340,000</c:v>
                </c:pt>
              </c:strCache>
            </c:strRef>
          </c:cat>
          <c:val>
            <c:numRef>
              <c:f>Sheet2!$I$2:$I$47</c:f>
              <c:numCache>
                <c:formatCode>"$"#,##0_);[Red]\("$"#,##0\)</c:formatCode>
                <c:ptCount val="5"/>
                <c:pt idx="0">
                  <c:v>1535.8656702820001</c:v>
                </c:pt>
                <c:pt idx="1">
                  <c:v>2347.5546928645299</c:v>
                </c:pt>
                <c:pt idx="2">
                  <c:v>1680.8043851944799</c:v>
                </c:pt>
                <c:pt idx="3">
                  <c:v>1525.0507226009138</c:v>
                </c:pt>
                <c:pt idx="4">
                  <c:v>1393.39815899582</c:v>
                </c:pt>
              </c:numCache>
            </c:numRef>
          </c:val>
          <c:extLst>
            <c:ext xmlns:c16="http://schemas.microsoft.com/office/drawing/2014/chart" uri="{C3380CC4-5D6E-409C-BE32-E72D297353CC}">
              <c16:uniqueId val="{00000002-411F-41FE-BF12-66440D19B296}"/>
            </c:ext>
          </c:extLst>
        </c:ser>
        <c:dLbls>
          <c:showLegendKey val="0"/>
          <c:showVal val="0"/>
          <c:showCatName val="0"/>
          <c:showSerName val="0"/>
          <c:showPercent val="0"/>
          <c:showBubbleSize val="0"/>
        </c:dLbls>
        <c:gapWidth val="75"/>
        <c:overlap val="100"/>
        <c:axId val="1615441024"/>
        <c:axId val="1615440544"/>
      </c:barChart>
      <c:lineChart>
        <c:grouping val="standard"/>
        <c:varyColors val="0"/>
        <c:ser>
          <c:idx val="3"/>
          <c:order val="3"/>
          <c:tx>
            <c:v>Affordability limit at 100% AMI for the region</c:v>
          </c:tx>
          <c:spPr>
            <a:ln w="28575" cap="rnd">
              <a:noFill/>
              <a:round/>
            </a:ln>
            <a:effectLst/>
          </c:spPr>
          <c:marker>
            <c:symbol val="diamond"/>
            <c:size val="12"/>
            <c:spPr>
              <a:solidFill>
                <a:srgbClr val="FFFF00"/>
              </a:solidFill>
              <a:ln w="9525">
                <a:solidFill>
                  <a:schemeClr val="tx1">
                    <a:lumMod val="75000"/>
                    <a:lumOff val="25000"/>
                  </a:schemeClr>
                </a:solidFill>
              </a:ln>
              <a:effectLst/>
            </c:spPr>
          </c:marker>
          <c:val>
            <c:numRef>
              <c:f>Sheet2!$L$5:$L$45</c:f>
              <c:numCache>
                <c:formatCode>_("$"* #,##0_);_("$"* \(#,##0\);_("$"* "-"??_);_(@_)</c:formatCode>
                <c:ptCount val="5"/>
                <c:pt idx="0">
                  <c:v>148900</c:v>
                </c:pt>
                <c:pt idx="1">
                  <c:v>148900</c:v>
                </c:pt>
                <c:pt idx="2">
                  <c:v>117300</c:v>
                </c:pt>
                <c:pt idx="3">
                  <c:v>97000</c:v>
                </c:pt>
                <c:pt idx="4">
                  <c:v>93100</c:v>
                </c:pt>
              </c:numCache>
            </c:numRef>
          </c:val>
          <c:smooth val="0"/>
          <c:extLst>
            <c:ext xmlns:c16="http://schemas.microsoft.com/office/drawing/2014/chart" uri="{C3380CC4-5D6E-409C-BE32-E72D297353CC}">
              <c16:uniqueId val="{00000003-411F-41FE-BF12-66440D19B296}"/>
            </c:ext>
          </c:extLst>
        </c:ser>
        <c:dLbls>
          <c:showLegendKey val="0"/>
          <c:showVal val="0"/>
          <c:showCatName val="0"/>
          <c:showSerName val="0"/>
          <c:showPercent val="0"/>
          <c:showBubbleSize val="0"/>
        </c:dLbls>
        <c:marker val="1"/>
        <c:smooth val="0"/>
        <c:axId val="203807200"/>
        <c:axId val="1272521375"/>
      </c:lineChart>
      <c:catAx>
        <c:axId val="1615441024"/>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tx1">
                        <a:lumMod val="65000"/>
                        <a:lumOff val="35000"/>
                      </a:schemeClr>
                    </a:solidFill>
                    <a:latin typeface="Segoe UI" panose="020B0502040204020203" pitchFamily="34" charset="0"/>
                    <a:ea typeface="+mn-ea"/>
                    <a:cs typeface="Segoe UI" panose="020B0502040204020203" pitchFamily="34" charset="0"/>
                  </a:defRPr>
                </a:pPr>
                <a:r>
                  <a:rPr lang="en-US" baseline="0"/>
                  <a:t>Five example municipalities and their median home sale price</a:t>
                </a:r>
                <a:endParaRPr lang="en-US"/>
              </a:p>
            </c:rich>
          </c:tx>
          <c:layout>
            <c:manualLayout>
              <c:xMode val="edge"/>
              <c:yMode val="edge"/>
              <c:x val="0.29566038614964996"/>
              <c:y val="0.9366307850759161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Segoe UI" panose="020B0502040204020203" pitchFamily="34" charset="0"/>
                  <a:ea typeface="+mn-ea"/>
                  <a:cs typeface="Segoe UI" panose="020B0502040204020203" pitchFamily="34" charset="0"/>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Segoe UI" panose="020B0502040204020203" pitchFamily="34" charset="0"/>
                <a:ea typeface="+mn-ea"/>
                <a:cs typeface="Segoe UI" panose="020B0502040204020203" pitchFamily="34" charset="0"/>
              </a:defRPr>
            </a:pPr>
            <a:endParaRPr lang="en-US"/>
          </a:p>
        </c:txPr>
        <c:crossAx val="1615440544"/>
        <c:crosses val="autoZero"/>
        <c:auto val="1"/>
        <c:lblAlgn val="ctr"/>
        <c:lblOffset val="100"/>
        <c:noMultiLvlLbl val="0"/>
      </c:catAx>
      <c:valAx>
        <c:axId val="16154405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Segoe UI" panose="020B0502040204020203" pitchFamily="34" charset="0"/>
                    <a:ea typeface="+mn-ea"/>
                    <a:cs typeface="Segoe UI" panose="020B0502040204020203" pitchFamily="34" charset="0"/>
                  </a:defRPr>
                </a:pPr>
                <a:r>
                  <a:rPr lang="en-US"/>
                  <a:t>Estimated Annual Costs for Median-Priced Home</a:t>
                </a:r>
              </a:p>
            </c:rich>
          </c:tx>
          <c:layout>
            <c:manualLayout>
              <c:xMode val="edge"/>
              <c:yMode val="edge"/>
              <c:x val="1.5919953354036787E-2"/>
              <c:y val="0.1046900250795864"/>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Segoe UI" panose="020B0502040204020203" pitchFamily="34" charset="0"/>
                  <a:ea typeface="+mn-ea"/>
                  <a:cs typeface="Segoe UI" panose="020B0502040204020203" pitchFamily="34" charset="0"/>
                </a:defRPr>
              </a:pPr>
              <a:endParaRPr lang="en-US"/>
            </a:p>
          </c:txPr>
        </c:title>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Segoe UI" panose="020B0502040204020203" pitchFamily="34" charset="0"/>
                <a:ea typeface="+mn-ea"/>
                <a:cs typeface="Segoe UI" panose="020B0502040204020203" pitchFamily="34" charset="0"/>
              </a:defRPr>
            </a:pPr>
            <a:endParaRPr lang="en-US"/>
          </a:p>
        </c:txPr>
        <c:crossAx val="1615441024"/>
        <c:crosses val="autoZero"/>
        <c:crossBetween val="between"/>
      </c:valAx>
      <c:valAx>
        <c:axId val="1272521375"/>
        <c:scaling>
          <c:orientation val="minMax"/>
          <c:max val="166666"/>
          <c:min val="0"/>
        </c:scaling>
        <c:delete val="0"/>
        <c:axPos val="r"/>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Segoe UI" panose="020B0502040204020203" pitchFamily="34" charset="0"/>
                    <a:ea typeface="+mn-ea"/>
                    <a:cs typeface="Segoe UI" panose="020B0502040204020203" pitchFamily="34" charset="0"/>
                  </a:defRPr>
                </a:pPr>
                <a:r>
                  <a:rPr lang="en-US"/>
                  <a:t>Minimum Income to Afford</a:t>
                </a:r>
                <a:r>
                  <a:rPr lang="en-US" baseline="0"/>
                  <a:t> the Home</a:t>
                </a:r>
                <a:endParaRPr lang="en-US"/>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Segoe UI" panose="020B0502040204020203" pitchFamily="34" charset="0"/>
                  <a:ea typeface="+mn-ea"/>
                  <a:cs typeface="Segoe UI" panose="020B0502040204020203" pitchFamily="34" charset="0"/>
                </a:defRPr>
              </a:pPr>
              <a:endParaRPr lang="en-US"/>
            </a:p>
          </c:txPr>
        </c:title>
        <c:numFmt formatCode="_(&quot;$&quot;* #,##0_);_(&quot;$&quot;* \(#,##0\);_(&quot;$&quot;* &quot;-&quot;??_);_(@_)" sourceLinked="1"/>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Segoe UI" panose="020B0502040204020203" pitchFamily="34" charset="0"/>
                <a:ea typeface="+mn-ea"/>
                <a:cs typeface="Segoe UI" panose="020B0502040204020203" pitchFamily="34" charset="0"/>
              </a:defRPr>
            </a:pPr>
            <a:endParaRPr lang="en-US"/>
          </a:p>
        </c:txPr>
        <c:crossAx val="203807200"/>
        <c:crosses val="max"/>
        <c:crossBetween val="between"/>
      </c:valAx>
      <c:catAx>
        <c:axId val="203807200"/>
        <c:scaling>
          <c:orientation val="minMax"/>
        </c:scaling>
        <c:delete val="1"/>
        <c:axPos val="b"/>
        <c:majorTickMark val="out"/>
        <c:minorTickMark val="none"/>
        <c:tickLblPos val="nextTo"/>
        <c:crossAx val="1272521375"/>
        <c:crosses val="autoZero"/>
        <c:auto val="1"/>
        <c:lblAlgn val="ctr"/>
        <c:lblOffset val="100"/>
        <c:noMultiLvlLbl val="0"/>
      </c:catAx>
      <c:spPr>
        <a:noFill/>
        <a:ln>
          <a:noFill/>
        </a:ln>
        <a:effectLst/>
      </c:spPr>
    </c:plotArea>
    <c:legend>
      <c:legendPos val="r"/>
      <c:layout>
        <c:manualLayout>
          <c:xMode val="edge"/>
          <c:yMode val="edge"/>
          <c:x val="0.58657958967473267"/>
          <c:y val="0.15205010220315263"/>
          <c:w val="0.28525153413117649"/>
          <c:h val="0.19206396668770834"/>
        </c:manualLayout>
      </c:layout>
      <c:overlay val="0"/>
      <c:spPr>
        <a:solidFill>
          <a:srgbClr val="FFFFFF"/>
        </a:solid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Segoe UI" panose="020B0502040204020203" pitchFamily="34" charset="0"/>
              <a:ea typeface="+mn-ea"/>
              <a:cs typeface="Segoe UI" panose="020B0502040204020203"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Segoe UI" panose="020B0502040204020203" pitchFamily="34" charset="0"/>
          <a:cs typeface="Segoe UI" panose="020B0502040204020203"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FE4DEF7_B3617AE5.xml><?xml version="1.0" encoding="utf-8"?>
<p188:cmLst xmlns:a="http://schemas.openxmlformats.org/drawingml/2006/main" xmlns:r="http://schemas.openxmlformats.org/officeDocument/2006/relationships" xmlns:p188="http://schemas.microsoft.com/office/powerpoint/2018/8/main">
  <p188:cm id="{E4920307-5409-4865-AD22-D9A2D0BE3C59}" authorId="{A531355E-2B15-76AA-81D6-FA6682EA9573}" status="resolved" created="2025-02-27T20:19:59.872" complete="100000">
    <pc:sldMkLst xmlns:pc="http://schemas.microsoft.com/office/powerpoint/2013/main/command">
      <pc:docMk/>
      <pc:sldMk cId="3009510117" sldId="2145705719"/>
    </pc:sldMkLst>
    <p188:txBody>
      <a:bodyPr/>
      <a:lstStyle/>
      <a:p>
        <a:r>
          <a:rPr lang="en-US"/>
          <a:t>[@Shupin, Eric (EOHLC)] do we want this slide here, or as part of a general "Seasonal Communities Updates" section with Filipe's funding update?</a:t>
        </a:r>
      </a:p>
    </p188:txBody>
  </p188:cm>
  <p188:cm id="{70F8B90C-80E2-4840-AA9C-1178829FC76F}" authorId="{E928B0A5-0EEB-7C36-140C-297ACD6F18B2}" status="resolved" created="2025-02-27T21:41:05.049" complete="100000">
    <ac:deMkLst xmlns:ac="http://schemas.microsoft.com/office/drawing/2013/main/command">
      <pc:docMk xmlns:pc="http://schemas.microsoft.com/office/powerpoint/2013/main/command"/>
      <pc:sldMk xmlns:pc="http://schemas.microsoft.com/office/powerpoint/2013/main/command" cId="3009510117" sldId="2145705719"/>
      <ac:spMk id="2" creationId="{43F18EC5-9759-7D09-3C52-2B13C9DEDFB5}"/>
    </ac:deMkLst>
    <p188:replyLst>
      <p188:reply id="{D07ED848-2D33-43CF-BDEC-7F20FB539F79}" authorId="{A531355E-2B15-76AA-81D6-FA6682EA9573}" created="2025-02-27T22:06:55.995">
        <p188:txBody>
          <a:bodyPr/>
          <a:lstStyle/>
          <a:p>
            <a:r>
              <a:rPr lang="en-US"/>
              <a:t>Updated, TY!</a:t>
            </a:r>
          </a:p>
        </p188:txBody>
        <p188:extLst>
          <p:ext xmlns:p="http://schemas.openxmlformats.org/presentationml/2006/main" uri="{57CB4572-C831-44C2-8A1C-0ADB6CCDFE69}">
            <p223:reactions xmlns:p223="http://schemas.microsoft.com/office/powerpoint/2022/03/main">
              <p223:rxn type="👍">
                <p223:instance time="2025-02-27T22:28:18.876" authorId="{B0AB71C7-4937-DC37-7FB2-9EE2B9145795}"/>
              </p223:rxn>
            </p223:reactions>
          </p:ext>
        </p188:extLst>
      </p188:reply>
    </p188:replyLst>
    <p188:txBody>
      <a:bodyPr/>
      <a:lstStyle/>
      <a:p>
        <a:r>
          <a:rPr lang="en-US"/>
          <a:t>Technically it’s MGL 23B, s. 32.
MGL c. 23B, s. 32 was inserted by Section 5 of Chapter 150 of the Acts of 2024 </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037840" cy="466434"/>
          </a:xfrm>
          <a:prstGeom prst="rect">
            <a:avLst/>
          </a:prstGeom>
        </p:spPr>
        <p:txBody>
          <a:bodyPr vert="horz" lIns="80168" tIns="40085" rIns="80168" bIns="40085" rtlCol="0"/>
          <a:lstStyle>
            <a:lvl1pPr algn="l">
              <a:defRPr sz="1100"/>
            </a:lvl1pPr>
          </a:lstStyle>
          <a:p>
            <a:endParaRPr lang="en-US"/>
          </a:p>
        </p:txBody>
      </p:sp>
      <p:sp>
        <p:nvSpPr>
          <p:cNvPr id="3" name="Date Placeholder 2"/>
          <p:cNvSpPr>
            <a:spLocks noGrp="1"/>
          </p:cNvSpPr>
          <p:nvPr>
            <p:ph type="dt" idx="1"/>
          </p:nvPr>
        </p:nvSpPr>
        <p:spPr>
          <a:xfrm>
            <a:off x="3970938" y="2"/>
            <a:ext cx="3037840" cy="466434"/>
          </a:xfrm>
          <a:prstGeom prst="rect">
            <a:avLst/>
          </a:prstGeom>
        </p:spPr>
        <p:txBody>
          <a:bodyPr vert="horz" lIns="80168" tIns="40085" rIns="80168" bIns="40085" rtlCol="0"/>
          <a:lstStyle>
            <a:lvl1pPr algn="r">
              <a:defRPr sz="1100"/>
            </a:lvl1pPr>
          </a:lstStyle>
          <a:p>
            <a:fld id="{AAB89070-0BFF-4174-9B51-8A7B8537D771}" type="datetimeFigureOut">
              <a:rPr lang="en-US" smtClean="0"/>
              <a:t>3/13/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80168" tIns="40085" rIns="80168" bIns="40085" rtlCol="0" anchor="ctr"/>
          <a:lstStyle/>
          <a:p>
            <a:endParaRPr lang="en-US"/>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80168" tIns="40085" rIns="80168" bIns="4008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80168" tIns="40085" rIns="80168" bIns="40085" rtlCol="0" anchor="b"/>
          <a:lstStyle>
            <a:lvl1pPr algn="l">
              <a:defRPr sz="11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80168" tIns="40085" rIns="80168" bIns="40085" rtlCol="0" anchor="b"/>
          <a:lstStyle>
            <a:lvl1pPr algn="r">
              <a:defRPr sz="1100"/>
            </a:lvl1pPr>
          </a:lstStyle>
          <a:p>
            <a:fld id="{DA14EB8E-230F-42FB-9C39-F1454E1689F2}" type="slidenum">
              <a:rPr lang="en-US" smtClean="0"/>
              <a:t>‹#›</a:t>
            </a:fld>
            <a:endParaRPr lang="en-US"/>
          </a:p>
        </p:txBody>
      </p:sp>
    </p:spTree>
    <p:extLst>
      <p:ext uri="{BB962C8B-B14F-4D97-AF65-F5344CB8AC3E}">
        <p14:creationId xmlns:p14="http://schemas.microsoft.com/office/powerpoint/2010/main" val="3954028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a:t>
            </a:fld>
            <a:endParaRPr lang="en-US"/>
          </a:p>
        </p:txBody>
      </p:sp>
    </p:spTree>
    <p:extLst>
      <p:ext uri="{BB962C8B-B14F-4D97-AF65-F5344CB8AC3E}">
        <p14:creationId xmlns:p14="http://schemas.microsoft.com/office/powerpoint/2010/main" val="445941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11</a:t>
            </a:fld>
            <a:endParaRPr lang="en-US"/>
          </a:p>
        </p:txBody>
      </p:sp>
    </p:spTree>
    <p:extLst>
      <p:ext uri="{BB962C8B-B14F-4D97-AF65-F5344CB8AC3E}">
        <p14:creationId xmlns:p14="http://schemas.microsoft.com/office/powerpoint/2010/main" val="34123550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13</a:t>
            </a:fld>
            <a:endParaRPr lang="en-US"/>
          </a:p>
        </p:txBody>
      </p:sp>
    </p:spTree>
    <p:extLst>
      <p:ext uri="{BB962C8B-B14F-4D97-AF65-F5344CB8AC3E}">
        <p14:creationId xmlns:p14="http://schemas.microsoft.com/office/powerpoint/2010/main" val="15150409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14</a:t>
            </a:fld>
            <a:endParaRPr lang="en-US"/>
          </a:p>
        </p:txBody>
      </p:sp>
    </p:spTree>
    <p:extLst>
      <p:ext uri="{BB962C8B-B14F-4D97-AF65-F5344CB8AC3E}">
        <p14:creationId xmlns:p14="http://schemas.microsoft.com/office/powerpoint/2010/main" val="14599616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15</a:t>
            </a:fld>
            <a:endParaRPr lang="en-US"/>
          </a:p>
        </p:txBody>
      </p:sp>
    </p:spTree>
    <p:extLst>
      <p:ext uri="{BB962C8B-B14F-4D97-AF65-F5344CB8AC3E}">
        <p14:creationId xmlns:p14="http://schemas.microsoft.com/office/powerpoint/2010/main" val="28324721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16</a:t>
            </a:fld>
            <a:endParaRPr lang="en-US"/>
          </a:p>
        </p:txBody>
      </p:sp>
    </p:spTree>
    <p:extLst>
      <p:ext uri="{BB962C8B-B14F-4D97-AF65-F5344CB8AC3E}">
        <p14:creationId xmlns:p14="http://schemas.microsoft.com/office/powerpoint/2010/main" val="41370468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186E23-110E-65D0-4DB4-07AFD7F446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A0F662-F7AA-1E78-B57A-ECC6843E6D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92B172-9B66-4705-D3A7-EEA2DD2EAA4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637413C-2A22-661D-1072-62425B4C6670}"/>
              </a:ext>
            </a:extLst>
          </p:cNvPr>
          <p:cNvSpPr>
            <a:spLocks noGrp="1"/>
          </p:cNvSpPr>
          <p:nvPr>
            <p:ph type="sldNum" sz="quarter" idx="5"/>
          </p:nvPr>
        </p:nvSpPr>
        <p:spPr/>
        <p:txBody>
          <a:bodyPr/>
          <a:lstStyle/>
          <a:p>
            <a:fld id="{DA14EB8E-230F-42FB-9C39-F1454E1689F2}" type="slidenum">
              <a:rPr lang="en-US" smtClean="0"/>
              <a:t>17</a:t>
            </a:fld>
            <a:endParaRPr lang="en-US"/>
          </a:p>
        </p:txBody>
      </p:sp>
    </p:spTree>
    <p:extLst>
      <p:ext uri="{BB962C8B-B14F-4D97-AF65-F5344CB8AC3E}">
        <p14:creationId xmlns:p14="http://schemas.microsoft.com/office/powerpoint/2010/main" val="22418714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BFFD04-6C6C-E0F6-A10A-9A1F7148EE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55C04F-CB6C-5534-50C2-55977DAF10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7F1F92-5502-70CD-76D4-5DC099F2BEE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58EEDDC-8123-31DF-6D6D-77C2AB0C767B}"/>
              </a:ext>
            </a:extLst>
          </p:cNvPr>
          <p:cNvSpPr>
            <a:spLocks noGrp="1"/>
          </p:cNvSpPr>
          <p:nvPr>
            <p:ph type="sldNum" sz="quarter" idx="5"/>
          </p:nvPr>
        </p:nvSpPr>
        <p:spPr/>
        <p:txBody>
          <a:bodyPr/>
          <a:lstStyle/>
          <a:p>
            <a:fld id="{DA14EB8E-230F-42FB-9C39-F1454E1689F2}" type="slidenum">
              <a:rPr lang="en-US" smtClean="0"/>
              <a:t>18</a:t>
            </a:fld>
            <a:endParaRPr lang="en-US"/>
          </a:p>
        </p:txBody>
      </p:sp>
    </p:spTree>
    <p:extLst>
      <p:ext uri="{BB962C8B-B14F-4D97-AF65-F5344CB8AC3E}">
        <p14:creationId xmlns:p14="http://schemas.microsoft.com/office/powerpoint/2010/main" val="25211817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9</a:t>
            </a:fld>
            <a:endParaRPr lang="en-US"/>
          </a:p>
        </p:txBody>
      </p:sp>
    </p:spTree>
    <p:extLst>
      <p:ext uri="{BB962C8B-B14F-4D97-AF65-F5344CB8AC3E}">
        <p14:creationId xmlns:p14="http://schemas.microsoft.com/office/powerpoint/2010/main" val="40681332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0</a:t>
            </a:fld>
            <a:endParaRPr lang="en-US"/>
          </a:p>
        </p:txBody>
      </p:sp>
    </p:spTree>
    <p:extLst>
      <p:ext uri="{BB962C8B-B14F-4D97-AF65-F5344CB8AC3E}">
        <p14:creationId xmlns:p14="http://schemas.microsoft.com/office/powerpoint/2010/main" val="26263345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691F8-9466-7817-075D-5745B11EC8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467C55-A009-E344-893A-A24A4B8F7A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E68A8E-106C-C0E3-9469-ECCD85051CE3}"/>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C531CB45-13AD-EA59-8368-CA2174E61469}"/>
              </a:ext>
            </a:extLst>
          </p:cNvPr>
          <p:cNvSpPr>
            <a:spLocks noGrp="1"/>
          </p:cNvSpPr>
          <p:nvPr>
            <p:ph type="sldNum" sz="quarter" idx="5"/>
          </p:nvPr>
        </p:nvSpPr>
        <p:spPr/>
        <p:txBody>
          <a:bodyPr/>
          <a:lstStyle/>
          <a:p>
            <a:fld id="{DA14EB8E-230F-42FB-9C39-F1454E1689F2}" type="slidenum">
              <a:rPr lang="en-US" smtClean="0"/>
              <a:t>21</a:t>
            </a:fld>
            <a:endParaRPr lang="en-US"/>
          </a:p>
        </p:txBody>
      </p:sp>
    </p:spTree>
    <p:extLst>
      <p:ext uri="{BB962C8B-B14F-4D97-AF65-F5344CB8AC3E}">
        <p14:creationId xmlns:p14="http://schemas.microsoft.com/office/powerpoint/2010/main" val="10324299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a:t>
            </a:fld>
            <a:endParaRPr lang="en-US"/>
          </a:p>
        </p:txBody>
      </p:sp>
    </p:spTree>
    <p:extLst>
      <p:ext uri="{BB962C8B-B14F-4D97-AF65-F5344CB8AC3E}">
        <p14:creationId xmlns:p14="http://schemas.microsoft.com/office/powerpoint/2010/main" val="2795433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22</a:t>
            </a:fld>
            <a:endParaRPr lang="en-US"/>
          </a:p>
        </p:txBody>
      </p:sp>
    </p:spTree>
    <p:extLst>
      <p:ext uri="{BB962C8B-B14F-4D97-AF65-F5344CB8AC3E}">
        <p14:creationId xmlns:p14="http://schemas.microsoft.com/office/powerpoint/2010/main" val="15903975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23</a:t>
            </a:fld>
            <a:endParaRPr lang="en-US"/>
          </a:p>
        </p:txBody>
      </p:sp>
    </p:spTree>
    <p:extLst>
      <p:ext uri="{BB962C8B-B14F-4D97-AF65-F5344CB8AC3E}">
        <p14:creationId xmlns:p14="http://schemas.microsoft.com/office/powerpoint/2010/main" val="28193656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4</a:t>
            </a:fld>
            <a:endParaRPr lang="en-US"/>
          </a:p>
        </p:txBody>
      </p:sp>
    </p:spTree>
    <p:extLst>
      <p:ext uri="{BB962C8B-B14F-4D97-AF65-F5344CB8AC3E}">
        <p14:creationId xmlns:p14="http://schemas.microsoft.com/office/powerpoint/2010/main" val="11445862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6BD9C3-0FB0-18CB-F7E3-2611C13D1C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B96192-3D2D-AF35-1488-B6762DB6D2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7E3F36-B10E-E132-37ED-251BB467D2E4}"/>
              </a:ext>
            </a:extLst>
          </p:cNvPr>
          <p:cNvSpPr>
            <a:spLocks noGrp="1"/>
          </p:cNvSpPr>
          <p:nvPr>
            <p:ph type="body" idx="1"/>
          </p:nvPr>
        </p:nvSpPr>
        <p:spPr/>
        <p:txBody>
          <a:bodyPr/>
          <a:lstStyle/>
          <a:p>
            <a:endParaRPr lang="en-US" b="1" u="sng" dirty="0">
              <a:ea typeface="Calibri"/>
              <a:cs typeface="Calibri"/>
            </a:endParaRPr>
          </a:p>
          <a:p>
            <a:endParaRPr lang="en-US">
              <a:ea typeface="Calibri"/>
              <a:cs typeface="Calibri"/>
            </a:endParaRPr>
          </a:p>
        </p:txBody>
      </p:sp>
      <p:sp>
        <p:nvSpPr>
          <p:cNvPr id="4" name="Slide Number Placeholder 3">
            <a:extLst>
              <a:ext uri="{FF2B5EF4-FFF2-40B4-BE49-F238E27FC236}">
                <a16:creationId xmlns:a16="http://schemas.microsoft.com/office/drawing/2014/main" id="{1CCC9A87-5AF9-0806-340B-AE85FF61F95B}"/>
              </a:ext>
            </a:extLst>
          </p:cNvPr>
          <p:cNvSpPr>
            <a:spLocks noGrp="1"/>
          </p:cNvSpPr>
          <p:nvPr>
            <p:ph type="sldNum" sz="quarter" idx="5"/>
          </p:nvPr>
        </p:nvSpPr>
        <p:spPr/>
        <p:txBody>
          <a:bodyPr/>
          <a:lstStyle/>
          <a:p>
            <a:fld id="{DA14EB8E-230F-42FB-9C39-F1454E1689F2}" type="slidenum">
              <a:rPr lang="en-US" smtClean="0"/>
              <a:t>25</a:t>
            </a:fld>
            <a:endParaRPr lang="en-US"/>
          </a:p>
        </p:txBody>
      </p:sp>
    </p:spTree>
    <p:extLst>
      <p:ext uri="{BB962C8B-B14F-4D97-AF65-F5344CB8AC3E}">
        <p14:creationId xmlns:p14="http://schemas.microsoft.com/office/powerpoint/2010/main" val="9664235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a:ea typeface="Calibri"/>
              <a:cs typeface="Calibri"/>
            </a:endParaRPr>
          </a:p>
          <a:p>
            <a:endParaRPr lang="en-US" b="1" u="sng">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6</a:t>
            </a:fld>
            <a:endParaRPr lang="en-US"/>
          </a:p>
        </p:txBody>
      </p:sp>
    </p:spTree>
    <p:extLst>
      <p:ext uri="{BB962C8B-B14F-4D97-AF65-F5344CB8AC3E}">
        <p14:creationId xmlns:p14="http://schemas.microsoft.com/office/powerpoint/2010/main" val="26402894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274425-4ED0-896F-1159-85E67935B6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DC9506-F5A9-E848-F254-CAD68BEF9F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EBF9DB-EA40-EA49-ECF4-0425EF7A3D13}"/>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52D40845-1B4E-7F53-5216-B7696F002924}"/>
              </a:ext>
            </a:extLst>
          </p:cNvPr>
          <p:cNvSpPr>
            <a:spLocks noGrp="1"/>
          </p:cNvSpPr>
          <p:nvPr>
            <p:ph type="sldNum" sz="quarter" idx="5"/>
          </p:nvPr>
        </p:nvSpPr>
        <p:spPr/>
        <p:txBody>
          <a:bodyPr/>
          <a:lstStyle/>
          <a:p>
            <a:fld id="{DA14EB8E-230F-42FB-9C39-F1454E1689F2}" type="slidenum">
              <a:rPr lang="en-US" smtClean="0"/>
              <a:t>27</a:t>
            </a:fld>
            <a:endParaRPr lang="en-US"/>
          </a:p>
        </p:txBody>
      </p:sp>
    </p:spTree>
    <p:extLst>
      <p:ext uri="{BB962C8B-B14F-4D97-AF65-F5344CB8AC3E}">
        <p14:creationId xmlns:p14="http://schemas.microsoft.com/office/powerpoint/2010/main" val="1106388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3</a:t>
            </a:fld>
            <a:endParaRPr lang="en-US"/>
          </a:p>
        </p:txBody>
      </p:sp>
    </p:spTree>
    <p:extLst>
      <p:ext uri="{BB962C8B-B14F-4D97-AF65-F5344CB8AC3E}">
        <p14:creationId xmlns:p14="http://schemas.microsoft.com/office/powerpoint/2010/main" val="24086576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4</a:t>
            </a:fld>
            <a:endParaRPr lang="en-US"/>
          </a:p>
        </p:txBody>
      </p:sp>
    </p:spTree>
    <p:extLst>
      <p:ext uri="{BB962C8B-B14F-4D97-AF65-F5344CB8AC3E}">
        <p14:creationId xmlns:p14="http://schemas.microsoft.com/office/powerpoint/2010/main" val="20229300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E9D0A2-4CF7-5A4A-A18F-0749BDBB72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CEDEB1-E2C8-FA32-C5AC-01A4012225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59D1AD-1E84-EE38-3B5E-6223917A86C4}"/>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58D16196-05F8-8EF6-F7B7-36414AA974CC}"/>
              </a:ext>
            </a:extLst>
          </p:cNvPr>
          <p:cNvSpPr>
            <a:spLocks noGrp="1"/>
          </p:cNvSpPr>
          <p:nvPr>
            <p:ph type="sldNum" sz="quarter" idx="5"/>
          </p:nvPr>
        </p:nvSpPr>
        <p:spPr/>
        <p:txBody>
          <a:bodyPr/>
          <a:lstStyle/>
          <a:p>
            <a:fld id="{DA14EB8E-230F-42FB-9C39-F1454E1689F2}" type="slidenum">
              <a:rPr lang="en-US" smtClean="0"/>
              <a:t>5</a:t>
            </a:fld>
            <a:endParaRPr lang="en-US"/>
          </a:p>
        </p:txBody>
      </p:sp>
    </p:spTree>
    <p:extLst>
      <p:ext uri="{BB962C8B-B14F-4D97-AF65-F5344CB8AC3E}">
        <p14:creationId xmlns:p14="http://schemas.microsoft.com/office/powerpoint/2010/main" val="32619301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6</a:t>
            </a:fld>
            <a:endParaRPr lang="en-US"/>
          </a:p>
        </p:txBody>
      </p:sp>
    </p:spTree>
    <p:extLst>
      <p:ext uri="{BB962C8B-B14F-4D97-AF65-F5344CB8AC3E}">
        <p14:creationId xmlns:p14="http://schemas.microsoft.com/office/powerpoint/2010/main" val="23592263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7</a:t>
            </a:fld>
            <a:endParaRPr lang="en-US"/>
          </a:p>
        </p:txBody>
      </p:sp>
    </p:spTree>
    <p:extLst>
      <p:ext uri="{BB962C8B-B14F-4D97-AF65-F5344CB8AC3E}">
        <p14:creationId xmlns:p14="http://schemas.microsoft.com/office/powerpoint/2010/main" val="27698083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CAEBAA-0D30-74B7-4194-E6218FA172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2D6673-D82D-B9E1-C58C-244A112089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61B008-160F-2635-2EB7-3670ECCC569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A66F2DC-6660-D534-4E7C-4F5DBABB0EAC}"/>
              </a:ext>
            </a:extLst>
          </p:cNvPr>
          <p:cNvSpPr>
            <a:spLocks noGrp="1"/>
          </p:cNvSpPr>
          <p:nvPr>
            <p:ph type="sldNum" sz="quarter" idx="5"/>
          </p:nvPr>
        </p:nvSpPr>
        <p:spPr/>
        <p:txBody>
          <a:bodyPr/>
          <a:lstStyle/>
          <a:p>
            <a:fld id="{DA14EB8E-230F-42FB-9C39-F1454E1689F2}" type="slidenum">
              <a:rPr lang="en-US" smtClean="0"/>
              <a:t>9</a:t>
            </a:fld>
            <a:endParaRPr lang="en-US"/>
          </a:p>
        </p:txBody>
      </p:sp>
    </p:spTree>
    <p:extLst>
      <p:ext uri="{BB962C8B-B14F-4D97-AF65-F5344CB8AC3E}">
        <p14:creationId xmlns:p14="http://schemas.microsoft.com/office/powerpoint/2010/main" val="38019965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10</a:t>
            </a:fld>
            <a:endParaRPr lang="en-US"/>
          </a:p>
        </p:txBody>
      </p:sp>
    </p:spTree>
    <p:extLst>
      <p:ext uri="{BB962C8B-B14F-4D97-AF65-F5344CB8AC3E}">
        <p14:creationId xmlns:p14="http://schemas.microsoft.com/office/powerpoint/2010/main" val="319405270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3239092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oleObject" Target="../embeddings/oleObject1.bin"/><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676" r:id="rId1"/>
    <p:sldLayoutId id="2147483691" r:id="rId2"/>
    <p:sldLayoutId id="2147483677" r:id="rId3"/>
    <p:sldLayoutId id="2147483692" r:id="rId4"/>
    <p:sldLayoutId id="2147483689" r:id="rId5"/>
    <p:sldLayoutId id="2147483690" r:id="rId6"/>
    <p:sldLayoutId id="2147483688" r:id="rId7"/>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8.jpeg"/></Relationships>
</file>

<file path=ppt/slides/_rels/slide1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microsoft.com/office/2018/10/relationships/comments" Target="../comments/modernComment_7FE4DEF7_B3617AE5.xml"/><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hyperlink" Target="https://malegislature.gov/Laws/GeneralLaws/PartI/TitleIV/Chapter32/Section23B" TargetMode="External"/><Relationship Id="rId4" Type="http://schemas.openxmlformats.org/officeDocument/2006/relationships/hyperlink" Target="https://www.mass.gov/doc/seasonal-communities-designation-acceptance/download"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325771-1314-5BF7-7213-1785A2AB17C0}"/>
              </a:ext>
            </a:extLst>
          </p:cNvPr>
          <p:cNvSpPr>
            <a:spLocks noGrp="1"/>
          </p:cNvSpPr>
          <p:nvPr>
            <p:ph type="body" sz="quarter" idx="13"/>
          </p:nvPr>
        </p:nvSpPr>
        <p:spPr>
          <a:xfrm>
            <a:off x="551940" y="5865069"/>
            <a:ext cx="6173979" cy="215444"/>
          </a:xfrm>
        </p:spPr>
        <p:txBody>
          <a:bodyPr/>
          <a:lstStyle/>
          <a:p>
            <a:r>
              <a:rPr lang="en-US">
                <a:cs typeface="Arial"/>
              </a:rPr>
              <a:t>March 12</a:t>
            </a:r>
            <a:r>
              <a:rPr lang="en-US" baseline="30000">
                <a:cs typeface="Arial"/>
              </a:rPr>
              <a:t>th</a:t>
            </a:r>
            <a:r>
              <a:rPr lang="en-US">
                <a:cs typeface="Arial"/>
              </a:rPr>
              <a:t>, 2025</a:t>
            </a:r>
          </a:p>
        </p:txBody>
      </p:sp>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551940" y="3599065"/>
            <a:ext cx="6173979" cy="1785104"/>
          </a:xfrm>
        </p:spPr>
        <p:txBody>
          <a:bodyPr/>
          <a:lstStyle/>
          <a:p>
            <a:r>
              <a:rPr lang="en-US" sz="3600"/>
              <a:t>Seasonal Communities Advisory Council</a:t>
            </a:r>
            <a:br>
              <a:rPr lang="en-US" sz="2000"/>
            </a:br>
            <a:br>
              <a:rPr lang="en-US" sz="2400" b="0"/>
            </a:br>
            <a:r>
              <a:rPr lang="en-US" sz="2000" b="0">
                <a:cs typeface="Arial"/>
              </a:rPr>
              <a:t>Funding, Data &amp; Designations</a:t>
            </a:r>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5A8D7A-F030-0E0F-61FF-A8CD5B38BD8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17CEA8B-AB6D-888E-2520-27BC45AF1EA6}"/>
              </a:ext>
            </a:extLst>
          </p:cNvPr>
          <p:cNvSpPr>
            <a:spLocks noGrp="1"/>
          </p:cNvSpPr>
          <p:nvPr>
            <p:ph type="title"/>
          </p:nvPr>
        </p:nvSpPr>
        <p:spPr/>
        <p:txBody>
          <a:bodyPr/>
          <a:lstStyle/>
          <a:p>
            <a:r>
              <a:rPr lang="en-US" sz="2800"/>
              <a:t>III) Disparity between the area median income and the income required to purchase the municipality’s median-priced home</a:t>
            </a:r>
          </a:p>
        </p:txBody>
      </p:sp>
      <p:sp>
        <p:nvSpPr>
          <p:cNvPr id="3" name="Text Placeholder 2">
            <a:extLst>
              <a:ext uri="{FF2B5EF4-FFF2-40B4-BE49-F238E27FC236}">
                <a16:creationId xmlns:a16="http://schemas.microsoft.com/office/drawing/2014/main" id="{A8C6FEF2-783A-26B6-192A-9A9F17DEBB7C}"/>
              </a:ext>
            </a:extLst>
          </p:cNvPr>
          <p:cNvSpPr>
            <a:spLocks noGrp="1"/>
          </p:cNvSpPr>
          <p:nvPr>
            <p:ph type="body" sz="quarter" idx="12"/>
          </p:nvPr>
        </p:nvSpPr>
        <p:spPr>
          <a:xfrm>
            <a:off x="554037" y="1645622"/>
            <a:ext cx="11082528" cy="4170372"/>
          </a:xfrm>
        </p:spPr>
        <p:txBody>
          <a:bodyPr/>
          <a:lstStyle/>
          <a:p>
            <a:r>
              <a:rPr lang="en-US" b="0" i="0">
                <a:solidFill>
                  <a:schemeClr val="tx1"/>
                </a:solidFill>
              </a:rPr>
              <a:t>Area Median Income is determined by HUD</a:t>
            </a:r>
          </a:p>
          <a:p>
            <a:pPr marL="742950" lvl="1" indent="-285750">
              <a:buFont typeface="Arial" panose="020B0604020202020204" pitchFamily="34" charset="0"/>
              <a:buChar char="•"/>
            </a:pPr>
            <a:r>
              <a:rPr lang="en-US"/>
              <a:t>Based on median income for a </a:t>
            </a:r>
            <a:r>
              <a:rPr lang="en-US" i="1"/>
              <a:t>four person family household </a:t>
            </a:r>
            <a:r>
              <a:rPr lang="en-US"/>
              <a:t> -- not median for all households.</a:t>
            </a:r>
          </a:p>
          <a:p>
            <a:pPr marL="742950" lvl="1" indent="-285750">
              <a:buFont typeface="Arial" panose="020B0604020202020204" pitchFamily="34" charset="0"/>
              <a:buChar char="•"/>
            </a:pPr>
            <a:r>
              <a:rPr lang="en-US"/>
              <a:t>Drawn from 2018 – 2022 ACS data inflation adjusted to 2024 dollars.</a:t>
            </a:r>
          </a:p>
          <a:p>
            <a:pPr marL="742950" lvl="1" indent="-285750">
              <a:buFont typeface="Arial" panose="020B0604020202020204" pitchFamily="34" charset="0"/>
              <a:buChar char="•"/>
            </a:pPr>
            <a:r>
              <a:rPr lang="en-US" b="0" i="0">
                <a:solidFill>
                  <a:schemeClr val="tx1"/>
                </a:solidFill>
              </a:rPr>
              <a:t>Value</a:t>
            </a:r>
            <a:r>
              <a:rPr lang="en-US"/>
              <a:t>s are estimated for 19 different Fair Market Rent areas in Massachusetts.  </a:t>
            </a:r>
          </a:p>
          <a:p>
            <a:pPr marL="0" lvl="1" indent="0">
              <a:buNone/>
            </a:pPr>
            <a:endParaRPr lang="en-US" sz="1200"/>
          </a:p>
          <a:p>
            <a:pPr marL="0" lvl="1" indent="0">
              <a:buNone/>
            </a:pPr>
            <a:r>
              <a:rPr lang="en-US"/>
              <a:t>Home sale prices based on Zillow Home Value Index, “a measure of the typical home value and market changes across a given region and housing type. It reflects the typical value for homes in the 35th to 65th percentile range.” </a:t>
            </a:r>
          </a:p>
          <a:p>
            <a:pPr marL="742950" lvl="3" indent="-285750">
              <a:buFont typeface="Arial" panose="020B0604020202020204" pitchFamily="34" charset="0"/>
              <a:buChar char="•"/>
            </a:pPr>
            <a:r>
              <a:rPr lang="en-US"/>
              <a:t>Includes both single family homes and condos</a:t>
            </a:r>
          </a:p>
          <a:p>
            <a:pPr marL="742950" lvl="3" indent="-285750">
              <a:buFont typeface="Arial" panose="020B0604020202020204" pitchFamily="34" charset="0"/>
              <a:buChar char="•"/>
            </a:pPr>
            <a:r>
              <a:rPr lang="en-US"/>
              <a:t>Monthly stats averaged to yield a 2024 median home value estimate</a:t>
            </a:r>
          </a:p>
          <a:p>
            <a:pPr marL="742950" lvl="3" indent="-285750">
              <a:buFont typeface="Arial" panose="020B0604020202020204" pitchFamily="34" charset="0"/>
              <a:buChar char="•"/>
            </a:pPr>
            <a:r>
              <a:rPr lang="en-US"/>
              <a:t>Ownership costs assumed 20% down payment, 6.6% interest rate </a:t>
            </a:r>
          </a:p>
          <a:p>
            <a:pPr marL="742950" lvl="3" indent="-285750">
              <a:buFont typeface="Arial" panose="020B0604020202020204" pitchFamily="34" charset="0"/>
              <a:buChar char="•"/>
            </a:pPr>
            <a:r>
              <a:rPr lang="en-US"/>
              <a:t>Insurance costs based on 2022 US Treasury data on average homeowners insurance premiums by zip code</a:t>
            </a:r>
          </a:p>
          <a:p>
            <a:pPr marL="742950" lvl="3" indent="-285750">
              <a:buFont typeface="Arial" panose="020B0604020202020204" pitchFamily="34" charset="0"/>
              <a:buChar char="•"/>
            </a:pPr>
            <a:r>
              <a:rPr lang="en-US"/>
              <a:t>Property tax costs calculated based on FY24 local mill rate assessed on median home sale price. </a:t>
            </a:r>
          </a:p>
        </p:txBody>
      </p:sp>
    </p:spTree>
    <p:extLst>
      <p:ext uri="{BB962C8B-B14F-4D97-AF65-F5344CB8AC3E}">
        <p14:creationId xmlns:p14="http://schemas.microsoft.com/office/powerpoint/2010/main" val="20189218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FC7A3D-A003-394E-9A36-F4C55D3BF52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0A4F6A7-5B39-8C4E-DE4E-1075057A8B0E}"/>
              </a:ext>
            </a:extLst>
          </p:cNvPr>
          <p:cNvSpPr>
            <a:spLocks noGrp="1"/>
          </p:cNvSpPr>
          <p:nvPr>
            <p:ph type="title"/>
          </p:nvPr>
        </p:nvSpPr>
        <p:spPr/>
        <p:txBody>
          <a:bodyPr/>
          <a:lstStyle/>
          <a:p>
            <a:r>
              <a:rPr lang="en-US" sz="2800"/>
              <a:t>III) Disparity between the area median income and the income required to purchase the municipality’s median-priced home</a:t>
            </a:r>
          </a:p>
        </p:txBody>
      </p:sp>
      <p:pic>
        <p:nvPicPr>
          <p:cNvPr id="7" name="Picture 6" descr="Map&#10;&#10;AI-generated content may be incorrect.">
            <a:extLst>
              <a:ext uri="{FF2B5EF4-FFF2-40B4-BE49-F238E27FC236}">
                <a16:creationId xmlns:a16="http://schemas.microsoft.com/office/drawing/2014/main" id="{930101EC-F882-8360-B271-86B592897F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970" y="1633537"/>
            <a:ext cx="5977930" cy="3590925"/>
          </a:xfrm>
          <a:prstGeom prst="rect">
            <a:avLst/>
          </a:prstGeom>
        </p:spPr>
      </p:pic>
      <p:pic>
        <p:nvPicPr>
          <p:cNvPr id="9" name="Picture 8" descr="Map&#10;&#10;AI-generated content may be incorrect.">
            <a:extLst>
              <a:ext uri="{FF2B5EF4-FFF2-40B4-BE49-F238E27FC236}">
                <a16:creationId xmlns:a16="http://schemas.microsoft.com/office/drawing/2014/main" id="{4BAEFC37-8767-5632-5900-B7F89EFC015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34099" y="1633536"/>
            <a:ext cx="5977931" cy="3590925"/>
          </a:xfrm>
          <a:prstGeom prst="rect">
            <a:avLst/>
          </a:prstGeom>
        </p:spPr>
      </p:pic>
    </p:spTree>
    <p:extLst>
      <p:ext uri="{BB962C8B-B14F-4D97-AF65-F5344CB8AC3E}">
        <p14:creationId xmlns:p14="http://schemas.microsoft.com/office/powerpoint/2010/main" val="5373950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70DEE-29BA-8700-3352-6C4974E01A5A}"/>
              </a:ext>
            </a:extLst>
          </p:cNvPr>
          <p:cNvSpPr>
            <a:spLocks noGrp="1"/>
          </p:cNvSpPr>
          <p:nvPr>
            <p:ph type="title"/>
          </p:nvPr>
        </p:nvSpPr>
        <p:spPr/>
        <p:txBody>
          <a:bodyPr/>
          <a:lstStyle/>
          <a:p>
            <a:r>
              <a:rPr lang="en-US" sz="2800"/>
              <a:t>III) Income required to purchase the municipality’s median-priced home</a:t>
            </a:r>
          </a:p>
        </p:txBody>
      </p:sp>
      <p:graphicFrame>
        <p:nvGraphicFramePr>
          <p:cNvPr id="5" name="Chart 4">
            <a:extLst>
              <a:ext uri="{FF2B5EF4-FFF2-40B4-BE49-F238E27FC236}">
                <a16:creationId xmlns:a16="http://schemas.microsoft.com/office/drawing/2014/main" id="{D6317C5A-4A39-0F03-DA56-42058DB65B6A}"/>
              </a:ext>
            </a:extLst>
          </p:cNvPr>
          <p:cNvGraphicFramePr>
            <a:graphicFrameLocks/>
          </p:cNvGraphicFramePr>
          <p:nvPr>
            <p:extLst>
              <p:ext uri="{D42A27DB-BD31-4B8C-83A1-F6EECF244321}">
                <p14:modId xmlns:p14="http://schemas.microsoft.com/office/powerpoint/2010/main" val="3851837017"/>
              </p:ext>
            </p:extLst>
          </p:nvPr>
        </p:nvGraphicFramePr>
        <p:xfrm>
          <a:off x="648512" y="1154430"/>
          <a:ext cx="10602418" cy="541782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6820329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D54D2D-77C2-FC50-D38B-4B4462DA43D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8F954CA-0E36-63BE-96E5-B42BB7C701E0}"/>
              </a:ext>
            </a:extLst>
          </p:cNvPr>
          <p:cNvSpPr>
            <a:spLocks noGrp="1"/>
          </p:cNvSpPr>
          <p:nvPr>
            <p:ph type="title"/>
          </p:nvPr>
        </p:nvSpPr>
        <p:spPr/>
        <p:txBody>
          <a:bodyPr/>
          <a:lstStyle/>
          <a:p>
            <a:r>
              <a:rPr lang="en-US" sz="2800"/>
              <a:t>III) Disparity between the area median income and the income required to purchase the municipality’s median-priced home</a:t>
            </a:r>
          </a:p>
        </p:txBody>
      </p:sp>
      <p:pic>
        <p:nvPicPr>
          <p:cNvPr id="4" name="Picture 3" descr="Map&#10;&#10;AI-generated content may be incorrect.">
            <a:extLst>
              <a:ext uri="{FF2B5EF4-FFF2-40B4-BE49-F238E27FC236}">
                <a16:creationId xmlns:a16="http://schemas.microsoft.com/office/drawing/2014/main" id="{CB952C52-B0B4-0978-345D-906D0E7404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11111" y="1114540"/>
            <a:ext cx="9369778" cy="5628398"/>
          </a:xfrm>
          <a:prstGeom prst="rect">
            <a:avLst/>
          </a:prstGeom>
        </p:spPr>
      </p:pic>
    </p:spTree>
    <p:extLst>
      <p:ext uri="{BB962C8B-B14F-4D97-AF65-F5344CB8AC3E}">
        <p14:creationId xmlns:p14="http://schemas.microsoft.com/office/powerpoint/2010/main" val="30755663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92EC90-E734-408F-880F-838E46F72DE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0EB41BF-0F23-D6DD-D060-B4C6ACAE065E}"/>
              </a:ext>
            </a:extLst>
          </p:cNvPr>
          <p:cNvSpPr>
            <a:spLocks noGrp="1"/>
          </p:cNvSpPr>
          <p:nvPr>
            <p:ph type="title"/>
          </p:nvPr>
        </p:nvSpPr>
        <p:spPr/>
        <p:txBody>
          <a:bodyPr/>
          <a:lstStyle/>
          <a:p>
            <a:r>
              <a:rPr lang="en-US" sz="2800"/>
              <a:t>IV) Percentage of homes used for seasonal, occasional or recreational use</a:t>
            </a:r>
          </a:p>
        </p:txBody>
      </p:sp>
      <p:sp>
        <p:nvSpPr>
          <p:cNvPr id="3" name="Text Placeholder 2">
            <a:extLst>
              <a:ext uri="{FF2B5EF4-FFF2-40B4-BE49-F238E27FC236}">
                <a16:creationId xmlns:a16="http://schemas.microsoft.com/office/drawing/2014/main" id="{0994144B-07D4-0A4A-3229-96F198534B82}"/>
              </a:ext>
            </a:extLst>
          </p:cNvPr>
          <p:cNvSpPr>
            <a:spLocks noGrp="1"/>
          </p:cNvSpPr>
          <p:nvPr>
            <p:ph type="body" sz="quarter" idx="12"/>
          </p:nvPr>
        </p:nvSpPr>
        <p:spPr>
          <a:xfrm>
            <a:off x="554037" y="1516072"/>
            <a:ext cx="11082528" cy="3825856"/>
          </a:xfrm>
        </p:spPr>
        <p:txBody>
          <a:bodyPr/>
          <a:lstStyle/>
          <a:p>
            <a:r>
              <a:rPr lang="en-US" b="0" i="0">
                <a:solidFill>
                  <a:schemeClr val="tx1"/>
                </a:solidFill>
              </a:rPr>
              <a:t>The ACS classifies units into occupied and vacant; and vacant units are assigned a “Vacancy Status.”  One status is “For seasonal, recreational, or occasional use.”  Those terms are defined by the Census Bureau as follows: </a:t>
            </a:r>
          </a:p>
          <a:p>
            <a:pPr marL="285750" indent="-285750">
              <a:buClr>
                <a:schemeClr val="tx1"/>
              </a:buClr>
              <a:buFont typeface="Arial" panose="020B0604020202020204" pitchFamily="34" charset="0"/>
              <a:buChar char="•"/>
            </a:pPr>
            <a:r>
              <a:rPr lang="en-US" b="0">
                <a:solidFill>
                  <a:schemeClr val="tx1"/>
                </a:solidFill>
              </a:rPr>
              <a:t>For occasional use</a:t>
            </a:r>
            <a:r>
              <a:rPr lang="en-US" b="0" i="0">
                <a:solidFill>
                  <a:schemeClr val="tx1"/>
                </a:solidFill>
              </a:rPr>
              <a:t>: Units held for weekends or occasional use throughout the year. Time-shared units are classified in this category if the vacant unit is not for-rent or for-sale-only, but held for use for an individual during the time of interview.</a:t>
            </a:r>
          </a:p>
          <a:p>
            <a:pPr marL="285750" indent="-285750">
              <a:buClr>
                <a:schemeClr val="tx1"/>
              </a:buClr>
              <a:buFont typeface="Arial" panose="020B0604020202020204" pitchFamily="34" charset="0"/>
              <a:buChar char="•"/>
            </a:pPr>
            <a:r>
              <a:rPr lang="en-US" b="0">
                <a:solidFill>
                  <a:schemeClr val="tx1"/>
                </a:solidFill>
              </a:rPr>
              <a:t>Seasonal Vacant Units</a:t>
            </a:r>
            <a:r>
              <a:rPr lang="en-US" b="0" i="0">
                <a:solidFill>
                  <a:schemeClr val="tx1"/>
                </a:solidFill>
              </a:rPr>
              <a:t>: Units intended for occupancy only during certain seasons of the year and are found primarily in resort areas. </a:t>
            </a:r>
          </a:p>
          <a:p>
            <a:pPr>
              <a:spcBef>
                <a:spcPts val="1800"/>
              </a:spcBef>
              <a:buClr>
                <a:schemeClr val="tx1"/>
              </a:buClr>
            </a:pPr>
            <a:r>
              <a:rPr lang="en-US" b="0" i="0">
                <a:solidFill>
                  <a:schemeClr val="tx1"/>
                </a:solidFill>
              </a:rPr>
              <a:t>The Cape Cod Commission’s Regional Housing Needs Assessment and the Berkshire Regional Planning Commission’s Berkshire Benchmarks both use this same ACS data as the basis for their seasonal home estimates. </a:t>
            </a:r>
          </a:p>
          <a:p>
            <a:pPr>
              <a:spcBef>
                <a:spcPts val="1800"/>
              </a:spcBef>
              <a:buClr>
                <a:schemeClr val="tx1"/>
              </a:buClr>
            </a:pPr>
            <a:r>
              <a:rPr lang="en-US" b="0" i="0">
                <a:solidFill>
                  <a:schemeClr val="tx1"/>
                </a:solidFill>
              </a:rPr>
              <a:t>Analysis was conducted using 2018 – 2022 ACS data.  </a:t>
            </a:r>
          </a:p>
        </p:txBody>
      </p:sp>
    </p:spTree>
    <p:extLst>
      <p:ext uri="{BB962C8B-B14F-4D97-AF65-F5344CB8AC3E}">
        <p14:creationId xmlns:p14="http://schemas.microsoft.com/office/powerpoint/2010/main" val="28225586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77656B6-66D1-CE3D-FE73-47C21A53EA1D}"/>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solidFill>
                  <a:srgbClr val="F2F2F2"/>
                </a:solidFill>
              </a:rPr>
              <a:t>IV) Statutory Metrics Data Review</a:t>
            </a:r>
            <a:endParaRPr lang="en-US"/>
          </a:p>
        </p:txBody>
      </p:sp>
      <p:pic>
        <p:nvPicPr>
          <p:cNvPr id="5" name="Picture 4" descr="Map&#10;&#10;AI-generated content may be incorrect.">
            <a:extLst>
              <a:ext uri="{FF2B5EF4-FFF2-40B4-BE49-F238E27FC236}">
                <a16:creationId xmlns:a16="http://schemas.microsoft.com/office/drawing/2014/main" id="{9B43C012-A503-79CC-4F9D-AC210E6B7F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1422" y="1021723"/>
            <a:ext cx="9429155" cy="5664065"/>
          </a:xfrm>
          <a:prstGeom prst="rect">
            <a:avLst/>
          </a:prstGeom>
        </p:spPr>
      </p:pic>
    </p:spTree>
    <p:extLst>
      <p:ext uri="{BB962C8B-B14F-4D97-AF65-F5344CB8AC3E}">
        <p14:creationId xmlns:p14="http://schemas.microsoft.com/office/powerpoint/2010/main" val="42658821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73A85A-197D-B1AF-F387-FF09F533DB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916460D-0F59-AD21-AC16-796AE6D4BE30}"/>
              </a:ext>
            </a:extLst>
          </p:cNvPr>
          <p:cNvSpPr>
            <a:spLocks noGrp="1"/>
          </p:cNvSpPr>
          <p:nvPr>
            <p:ph type="title"/>
          </p:nvPr>
        </p:nvSpPr>
        <p:spPr/>
        <p:txBody>
          <a:bodyPr/>
          <a:lstStyle/>
          <a:p>
            <a:r>
              <a:rPr lang="en-US" sz="2800"/>
              <a:t>V) High variations in employment over the full year</a:t>
            </a:r>
          </a:p>
        </p:txBody>
      </p:sp>
      <p:sp>
        <p:nvSpPr>
          <p:cNvPr id="3" name="Text Placeholder 2">
            <a:extLst>
              <a:ext uri="{FF2B5EF4-FFF2-40B4-BE49-F238E27FC236}">
                <a16:creationId xmlns:a16="http://schemas.microsoft.com/office/drawing/2014/main" id="{4782BD86-BEE5-8F00-8E1D-D62745634CA4}"/>
              </a:ext>
            </a:extLst>
          </p:cNvPr>
          <p:cNvSpPr>
            <a:spLocks noGrp="1"/>
          </p:cNvSpPr>
          <p:nvPr>
            <p:ph type="body" sz="quarter" idx="12"/>
          </p:nvPr>
        </p:nvSpPr>
        <p:spPr>
          <a:xfrm>
            <a:off x="573087" y="1316883"/>
            <a:ext cx="11082528" cy="4224233"/>
          </a:xfrm>
        </p:spPr>
        <p:txBody>
          <a:bodyPr/>
          <a:lstStyle/>
          <a:p>
            <a:r>
              <a:rPr lang="en-US" b="0" i="0">
                <a:solidFill>
                  <a:schemeClr val="tx1"/>
                </a:solidFill>
              </a:rPr>
              <a:t>EOHLC collected data on monthly employment by municipality from EOLWD for total employment, private sector employment (excludes city, town, state, federal employment), and Leisure &amp; Hospitality sector.  </a:t>
            </a:r>
          </a:p>
          <a:p>
            <a:r>
              <a:rPr lang="en-US" b="0" i="0">
                <a:solidFill>
                  <a:schemeClr val="tx1"/>
                </a:solidFill>
              </a:rPr>
              <a:t>Seasonal Employment Ratio was calculated as follows: </a:t>
            </a:r>
          </a:p>
          <a:p>
            <a:pPr marL="742950" lvl="1" indent="-285750">
              <a:buClr>
                <a:schemeClr val="tx1"/>
              </a:buClr>
              <a:buFont typeface="Arial" panose="020B0604020202020204" pitchFamily="34" charset="0"/>
              <a:buChar char="•"/>
            </a:pPr>
            <a:r>
              <a:rPr lang="en-US" b="0" i="0">
                <a:solidFill>
                  <a:schemeClr val="tx1"/>
                </a:solidFill>
              </a:rPr>
              <a:t>Calculate three-month rolling average of employment over the period 2014 – 2023</a:t>
            </a:r>
          </a:p>
          <a:p>
            <a:pPr marL="742950" lvl="1" indent="-285750">
              <a:buClr>
                <a:schemeClr val="tx1"/>
              </a:buClr>
              <a:buFont typeface="Arial" panose="020B0604020202020204" pitchFamily="34" charset="0"/>
              <a:buChar char="•"/>
            </a:pPr>
            <a:r>
              <a:rPr lang="en-US" b="0" i="0">
                <a:solidFill>
                  <a:schemeClr val="tx1"/>
                </a:solidFill>
              </a:rPr>
              <a:t>For each municipality, determine the three-month periods with the highest and lowest employment average for each calendar year. These are termed the “peak-season” and “off-season” employment totals. </a:t>
            </a:r>
          </a:p>
          <a:p>
            <a:pPr marL="742950" lvl="1" indent="-285750">
              <a:buClr>
                <a:schemeClr val="tx1"/>
              </a:buClr>
              <a:buFont typeface="Arial" panose="020B0604020202020204" pitchFamily="34" charset="0"/>
              <a:buChar char="•"/>
            </a:pPr>
            <a:r>
              <a:rPr lang="en-US" b="0" i="0">
                <a:solidFill>
                  <a:schemeClr val="tx1"/>
                </a:solidFill>
              </a:rPr>
              <a:t>Calculate the ratio of peak-season to off-season employment for each calendar year</a:t>
            </a:r>
          </a:p>
          <a:p>
            <a:pPr marL="742950" lvl="1" indent="-285750">
              <a:buClr>
                <a:schemeClr val="tx1"/>
              </a:buClr>
              <a:buFont typeface="Arial" panose="020B0604020202020204" pitchFamily="34" charset="0"/>
              <a:buChar char="•"/>
            </a:pPr>
            <a:r>
              <a:rPr lang="en-US" b="0" i="0">
                <a:solidFill>
                  <a:schemeClr val="tx1"/>
                </a:solidFill>
              </a:rPr>
              <a:t>Eliminate the highest and lowest calendar year ratios for the ten-year study period, for each municipality</a:t>
            </a:r>
          </a:p>
          <a:p>
            <a:pPr marL="742950" lvl="1" indent="-285750">
              <a:buClr>
                <a:schemeClr val="tx1"/>
              </a:buClr>
              <a:buFont typeface="Arial" panose="020B0604020202020204" pitchFamily="34" charset="0"/>
              <a:buChar char="•"/>
            </a:pPr>
            <a:r>
              <a:rPr lang="en-US" b="0" i="0">
                <a:solidFill>
                  <a:schemeClr val="tx1"/>
                </a:solidFill>
              </a:rPr>
              <a:t>Average the remaining ratios to produce an average Seasonal Employment Ratio for each municipality.  </a:t>
            </a:r>
          </a:p>
          <a:p>
            <a:pPr>
              <a:buClr>
                <a:schemeClr val="tx1"/>
              </a:buClr>
            </a:pPr>
            <a:r>
              <a:rPr lang="en-US" b="0" i="0">
                <a:solidFill>
                  <a:schemeClr val="tx1"/>
                </a:solidFill>
              </a:rPr>
              <a:t>Current estimates are for all private sector employment. Further analysis will estimate Leisure &amp; Hospitality ratios and share of seasonal employment associated with Leisure &amp; Hospitality jobs.  </a:t>
            </a:r>
          </a:p>
        </p:txBody>
      </p:sp>
    </p:spTree>
    <p:extLst>
      <p:ext uri="{BB962C8B-B14F-4D97-AF65-F5344CB8AC3E}">
        <p14:creationId xmlns:p14="http://schemas.microsoft.com/office/powerpoint/2010/main" val="17099244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65AA4D-257C-E641-E50D-B306C84BFFA3}"/>
            </a:ext>
          </a:extLst>
        </p:cNvPr>
        <p:cNvGrpSpPr/>
        <p:nvPr/>
      </p:nvGrpSpPr>
      <p:grpSpPr>
        <a:xfrm>
          <a:off x="0" y="0"/>
          <a:ext cx="0" cy="0"/>
          <a:chOff x="0" y="0"/>
          <a:chExt cx="0" cy="0"/>
        </a:xfrm>
      </p:grpSpPr>
      <p:sp>
        <p:nvSpPr>
          <p:cNvPr id="13" name="Title 1">
            <a:extLst>
              <a:ext uri="{FF2B5EF4-FFF2-40B4-BE49-F238E27FC236}">
                <a16:creationId xmlns:a16="http://schemas.microsoft.com/office/drawing/2014/main" id="{0A0C31DB-A890-EB21-96C1-4EEC88FF5C61}"/>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solidFill>
                  <a:srgbClr val="F2F2F2"/>
                </a:solidFill>
              </a:rPr>
              <a:t>V) Seasonal Variation in Employment</a:t>
            </a:r>
            <a:endParaRPr lang="en-US"/>
          </a:p>
        </p:txBody>
      </p:sp>
      <p:pic>
        <p:nvPicPr>
          <p:cNvPr id="3" name="Picture 2" descr="Map&#10;&#10;AI-generated content may be incorrect.">
            <a:extLst>
              <a:ext uri="{FF2B5EF4-FFF2-40B4-BE49-F238E27FC236}">
                <a16:creationId xmlns:a16="http://schemas.microsoft.com/office/drawing/2014/main" id="{D002E6F2-452C-FEF6-6236-93AF47AEBD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2699" y="1055914"/>
            <a:ext cx="9426601" cy="5662531"/>
          </a:xfrm>
          <a:prstGeom prst="rect">
            <a:avLst/>
          </a:prstGeom>
        </p:spPr>
      </p:pic>
    </p:spTree>
    <p:extLst>
      <p:ext uri="{BB962C8B-B14F-4D97-AF65-F5344CB8AC3E}">
        <p14:creationId xmlns:p14="http://schemas.microsoft.com/office/powerpoint/2010/main" val="24049029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7E641D-4B3F-B504-D962-2C74879FD8BC}"/>
            </a:ext>
          </a:extLst>
        </p:cNvPr>
        <p:cNvGrpSpPr/>
        <p:nvPr/>
      </p:nvGrpSpPr>
      <p:grpSpPr>
        <a:xfrm>
          <a:off x="0" y="0"/>
          <a:ext cx="0" cy="0"/>
          <a:chOff x="0" y="0"/>
          <a:chExt cx="0" cy="0"/>
        </a:xfrm>
      </p:grpSpPr>
      <p:sp>
        <p:nvSpPr>
          <p:cNvPr id="13" name="Title 1">
            <a:extLst>
              <a:ext uri="{FF2B5EF4-FFF2-40B4-BE49-F238E27FC236}">
                <a16:creationId xmlns:a16="http://schemas.microsoft.com/office/drawing/2014/main" id="{E800E009-852C-D032-199C-097E421DE961}"/>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solidFill>
                  <a:srgbClr val="F2F2F2"/>
                </a:solidFill>
              </a:rPr>
              <a:t>Combined Seasonal Communities Score</a:t>
            </a:r>
            <a:endParaRPr lang="en-US"/>
          </a:p>
        </p:txBody>
      </p:sp>
      <p:pic>
        <p:nvPicPr>
          <p:cNvPr id="4" name="Picture 3" descr="Map&#10;&#10;AI-generated content may be incorrect.">
            <a:extLst>
              <a:ext uri="{FF2B5EF4-FFF2-40B4-BE49-F238E27FC236}">
                <a16:creationId xmlns:a16="http://schemas.microsoft.com/office/drawing/2014/main" id="{C2B039D6-D86C-6379-0692-2DDD36E59A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70792" y="1244861"/>
            <a:ext cx="8438286" cy="5068853"/>
          </a:xfrm>
          <a:prstGeom prst="rect">
            <a:avLst/>
          </a:prstGeom>
        </p:spPr>
      </p:pic>
      <p:sp>
        <p:nvSpPr>
          <p:cNvPr id="2" name="Text Placeholder 2">
            <a:extLst>
              <a:ext uri="{FF2B5EF4-FFF2-40B4-BE49-F238E27FC236}">
                <a16:creationId xmlns:a16="http://schemas.microsoft.com/office/drawing/2014/main" id="{A8D64217-E1F0-D52A-05AF-B2A363A50A3A}"/>
              </a:ext>
            </a:extLst>
          </p:cNvPr>
          <p:cNvSpPr>
            <a:spLocks noGrp="1"/>
          </p:cNvSpPr>
          <p:nvPr>
            <p:ph type="body" sz="quarter" idx="12"/>
          </p:nvPr>
        </p:nvSpPr>
        <p:spPr>
          <a:xfrm>
            <a:off x="573086" y="1611086"/>
            <a:ext cx="2692627" cy="4984576"/>
          </a:xfrm>
        </p:spPr>
        <p:txBody>
          <a:bodyPr/>
          <a:lstStyle/>
          <a:p>
            <a:pPr>
              <a:lnSpc>
                <a:spcPct val="150000"/>
              </a:lnSpc>
            </a:pPr>
            <a:r>
              <a:rPr lang="en-US" sz="1600" b="0" i="0">
                <a:solidFill>
                  <a:schemeClr val="tx1"/>
                </a:solidFill>
              </a:rPr>
              <a:t>EOHLC calculated a ‘normalized’ score for three of the measures described above (Short Term Rentals, Seasonal Homes, Seasonal Employment Ratio).  Normalized scores were averaged to produce a preliminary Seasonal Communities Score of 1 through 5 (Breaks between each category are arbitrary, not determinative). </a:t>
            </a:r>
          </a:p>
        </p:txBody>
      </p:sp>
    </p:spTree>
    <p:extLst>
      <p:ext uri="{BB962C8B-B14F-4D97-AF65-F5344CB8AC3E}">
        <p14:creationId xmlns:p14="http://schemas.microsoft.com/office/powerpoint/2010/main" val="19849107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BA6990-57DC-EB3C-9F32-9F7B4F68DC4D}"/>
              </a:ext>
            </a:extLst>
          </p:cNvPr>
          <p:cNvSpPr>
            <a:spLocks noGrp="1"/>
          </p:cNvSpPr>
          <p:nvPr>
            <p:ph type="title"/>
          </p:nvPr>
        </p:nvSpPr>
        <p:spPr>
          <a:xfrm>
            <a:off x="2882723" y="2924842"/>
            <a:ext cx="8181508" cy="677108"/>
          </a:xfrm>
        </p:spPr>
        <p:txBody>
          <a:bodyPr/>
          <a:lstStyle/>
          <a:p>
            <a:pPr algn="l"/>
            <a:r>
              <a:rPr lang="en-US">
                <a:cs typeface="Arial"/>
              </a:rPr>
              <a:t>Further Designations</a:t>
            </a:r>
          </a:p>
        </p:txBody>
      </p:sp>
    </p:spTree>
    <p:extLst>
      <p:ext uri="{BB962C8B-B14F-4D97-AF65-F5344CB8AC3E}">
        <p14:creationId xmlns:p14="http://schemas.microsoft.com/office/powerpoint/2010/main" val="1122960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7">
            <a:extLst>
              <a:ext uri="{FF2B5EF4-FFF2-40B4-BE49-F238E27FC236}">
                <a16:creationId xmlns:a16="http://schemas.microsoft.com/office/drawing/2014/main" id="{5028B61B-25D8-5187-F9E2-429ADA71341A}"/>
              </a:ext>
            </a:extLst>
          </p:cNvPr>
          <p:cNvGraphicFramePr>
            <a:graphicFrameLocks noGrp="1"/>
          </p:cNvGraphicFramePr>
          <p:nvPr>
            <p:extLst>
              <p:ext uri="{D42A27DB-BD31-4B8C-83A1-F6EECF244321}">
                <p14:modId xmlns:p14="http://schemas.microsoft.com/office/powerpoint/2010/main" val="190521395"/>
              </p:ext>
            </p:extLst>
          </p:nvPr>
        </p:nvGraphicFramePr>
        <p:xfrm>
          <a:off x="554736" y="1452620"/>
          <a:ext cx="10975979" cy="4593348"/>
        </p:xfrm>
        <a:graphic>
          <a:graphicData uri="http://schemas.openxmlformats.org/drawingml/2006/table">
            <a:tbl>
              <a:tblPr firstRow="1" bandRow="1">
                <a:tableStyleId>{5C22544A-7EE6-4342-B048-85BDC9FD1C3A}</a:tableStyleId>
              </a:tblPr>
              <a:tblGrid>
                <a:gridCol w="9088085">
                  <a:extLst>
                    <a:ext uri="{9D8B030D-6E8A-4147-A177-3AD203B41FA5}">
                      <a16:colId xmlns:a16="http://schemas.microsoft.com/office/drawing/2014/main" val="3478081800"/>
                    </a:ext>
                  </a:extLst>
                </a:gridCol>
                <a:gridCol w="1887894">
                  <a:extLst>
                    <a:ext uri="{9D8B030D-6E8A-4147-A177-3AD203B41FA5}">
                      <a16:colId xmlns:a16="http://schemas.microsoft.com/office/drawing/2014/main" val="1808871423"/>
                    </a:ext>
                  </a:extLst>
                </a:gridCol>
              </a:tblGrid>
              <a:tr h="747330">
                <a:tc>
                  <a:txBody>
                    <a:bodyPr/>
                    <a:lstStyle/>
                    <a:p>
                      <a:r>
                        <a:rPr lang="en-US" sz="1600" b="0" strike="noStrike">
                          <a:solidFill>
                            <a:schemeClr val="tx1"/>
                          </a:solidFill>
                        </a:rPr>
                        <a:t>Call to Order, Swearing In, Approval of Minutes</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lumMod val="50000"/>
                              <a:lumOff val="50000"/>
                            </a:schemeClr>
                          </a:solidFill>
                          <a:effectLst/>
                          <a:uLnTx/>
                          <a:uFillTx/>
                          <a:latin typeface="Arial"/>
                          <a:ea typeface="+mn-ea"/>
                          <a:cs typeface="+mn-cs"/>
                        </a:rPr>
                        <a:t>N/A</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982569"/>
                  </a:ext>
                </a:extLst>
              </a:tr>
              <a:tr h="747330">
                <a:tc>
                  <a:txBody>
                    <a:bodyPr/>
                    <a:lstStyle/>
                    <a:p>
                      <a:pPr lvl="0">
                        <a:buNone/>
                      </a:pPr>
                      <a:r>
                        <a:rPr lang="en-US" sz="1600" b="0" strike="noStrike">
                          <a:solidFill>
                            <a:schemeClr val="tx1"/>
                          </a:solidFill>
                        </a:rPr>
                        <a:t>Designation Acceptance</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lang="en-US" sz="1600" b="0" i="0" u="none" strike="noStrike" kern="1200" cap="none" spc="0" normalizeH="0" baseline="0" noProof="0">
                          <a:ln>
                            <a:noFill/>
                          </a:ln>
                          <a:solidFill>
                            <a:schemeClr val="tx1"/>
                          </a:solidFill>
                          <a:effectLst/>
                          <a:uLnTx/>
                          <a:uFillTx/>
                          <a:latin typeface="Arial"/>
                          <a:ea typeface="+mn-ea"/>
                          <a:cs typeface="+mn-cs"/>
                        </a:rPr>
                        <a:t>3 – 4</a:t>
                      </a:r>
                      <a:endParaRPr kumimoji="0" lang="en-US" sz="1600" b="0" i="0" u="none" strike="noStrike" kern="1200" cap="none" spc="0" normalizeH="0" baseline="0" noProof="0">
                        <a:ln>
                          <a:noFill/>
                        </a:ln>
                        <a:solidFill>
                          <a:schemeClr val="tx1"/>
                        </a:solidFill>
                        <a:effectLst/>
                        <a:uLnTx/>
                        <a:uFillTx/>
                        <a:latin typeface="Arial"/>
                        <a:ea typeface="+mn-ea"/>
                        <a:cs typeface="+mn-cs"/>
                      </a:endParaRP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9576825"/>
                  </a:ext>
                </a:extLst>
              </a:tr>
              <a:tr h="774672">
                <a:tc>
                  <a:txBody>
                    <a:bodyPr/>
                    <a:lstStyle/>
                    <a:p>
                      <a:r>
                        <a:rPr lang="en-US" sz="1600" b="0" strike="noStrike">
                          <a:solidFill>
                            <a:schemeClr val="tx1"/>
                          </a:solidFill>
                        </a:rPr>
                        <a:t>Statutory Metrics Data Review</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600" b="0" i="0" u="none" strike="noStrike" kern="1200" cap="none" spc="0" normalizeH="0" baseline="0" noProof="0">
                          <a:ln>
                            <a:noFill/>
                          </a:ln>
                          <a:solidFill>
                            <a:srgbClr val="000000"/>
                          </a:solidFill>
                          <a:effectLst/>
                          <a:uLnTx/>
                          <a:uFillTx/>
                          <a:latin typeface="Arial"/>
                          <a:ea typeface="+mn-ea"/>
                          <a:cs typeface="+mn-cs"/>
                        </a:rPr>
                        <a:t>5 </a:t>
                      </a:r>
                      <a:r>
                        <a:rPr kumimoji="0" lang="en-US" sz="1600" b="0" i="0" u="none" strike="noStrike" kern="1200" cap="none" spc="0" normalizeH="0" baseline="0" noProof="0">
                          <a:ln>
                            <a:noFill/>
                          </a:ln>
                          <a:solidFill>
                            <a:srgbClr val="000000"/>
                          </a:solidFill>
                          <a:effectLst/>
                          <a:uLnTx/>
                          <a:uFillTx/>
                          <a:latin typeface="Arial"/>
                          <a:ea typeface="+mn-ea"/>
                          <a:cs typeface="+mn-cs"/>
                        </a:rPr>
                        <a:t>– </a:t>
                      </a:r>
                      <a:r>
                        <a:rPr lang="en-US" sz="1600" b="0" i="0" u="none" strike="noStrike" kern="1200" cap="none" spc="0" normalizeH="0" baseline="0" noProof="0">
                          <a:ln>
                            <a:noFill/>
                          </a:ln>
                          <a:solidFill>
                            <a:srgbClr val="000000"/>
                          </a:solidFill>
                          <a:effectLst/>
                          <a:uLnTx/>
                          <a:uFillTx/>
                          <a:latin typeface="Arial"/>
                          <a:ea typeface="+mn-ea"/>
                          <a:cs typeface="+mn-cs"/>
                        </a:rPr>
                        <a:t>18</a:t>
                      </a:r>
                      <a:endParaRPr kumimoji="0" lang="en-US" sz="1600" b="0" i="0" u="none" strike="noStrike" kern="1200" cap="none" spc="0" normalizeH="0" baseline="0" noProof="0">
                        <a:ln>
                          <a:noFill/>
                        </a:ln>
                        <a:solidFill>
                          <a:srgbClr val="000000"/>
                        </a:solidFill>
                        <a:effectLst/>
                        <a:uLnTx/>
                        <a:uFillTx/>
                        <a:latin typeface="Arial"/>
                        <a:ea typeface="+mn-ea"/>
                        <a:cs typeface="+mn-cs"/>
                      </a:endParaRP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5504016"/>
                  </a:ext>
                </a:extLst>
              </a:tr>
              <a:tr h="774672">
                <a:tc>
                  <a:txBody>
                    <a:bodyPr/>
                    <a:lstStyle/>
                    <a:p>
                      <a:r>
                        <a:rPr lang="en-US" sz="1600" b="0" strike="noStrike">
                          <a:solidFill>
                            <a:schemeClr val="tx1"/>
                          </a:solidFill>
                        </a:rPr>
                        <a:t>Further Designations</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600" b="0" i="0" u="none" strike="noStrike" kern="1200" cap="none" spc="0" normalizeH="0" baseline="0" noProof="0">
                          <a:ln>
                            <a:noFill/>
                          </a:ln>
                          <a:solidFill>
                            <a:srgbClr val="000000"/>
                          </a:solidFill>
                          <a:effectLst/>
                          <a:uLnTx/>
                          <a:uFillTx/>
                          <a:latin typeface="Arial"/>
                          <a:ea typeface="+mn-ea"/>
                          <a:cs typeface="+mn-cs"/>
                        </a:rPr>
                        <a:t>19 </a:t>
                      </a:r>
                      <a:r>
                        <a:rPr lang="en-US" sz="1600" b="0" i="0" u="none" strike="noStrike" kern="1200" cap="none" spc="0" normalizeH="0" baseline="0" noProof="0">
                          <a:ln>
                            <a:noFill/>
                          </a:ln>
                          <a:solidFill>
                            <a:srgbClr val="000000"/>
                          </a:solidFill>
                          <a:effectLst/>
                          <a:uLnTx/>
                          <a:uFillTx/>
                          <a:latin typeface="Arial"/>
                        </a:rPr>
                        <a:t>–</a:t>
                      </a:r>
                      <a:r>
                        <a:rPr lang="en-US" sz="1600" b="0" i="0" u="none" strike="noStrike" kern="1200" cap="none" spc="0" normalizeH="0" baseline="0" noProof="0">
                          <a:ln>
                            <a:noFill/>
                          </a:ln>
                          <a:solidFill>
                            <a:srgbClr val="000000"/>
                          </a:solidFill>
                          <a:effectLst/>
                          <a:uLnTx/>
                          <a:uFillTx/>
                          <a:latin typeface="Arial"/>
                          <a:ea typeface="+mn-ea"/>
                          <a:cs typeface="+mn-cs"/>
                        </a:rPr>
                        <a:t> 20</a:t>
                      </a:r>
                      <a:endParaRPr kumimoji="0" lang="en-US" sz="1600"/>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293923"/>
                  </a:ext>
                </a:extLst>
              </a:tr>
              <a:tr h="774672">
                <a:tc>
                  <a:txBody>
                    <a:bodyPr/>
                    <a:lstStyle/>
                    <a:p>
                      <a:pPr lvl="0">
                        <a:buNone/>
                      </a:pPr>
                      <a:r>
                        <a:rPr lang="en-US" sz="1600" b="0" strike="noStrike">
                          <a:solidFill>
                            <a:schemeClr val="tx1"/>
                          </a:solidFill>
                        </a:rPr>
                        <a:t>Working Groups</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lang="en-US" sz="1600" b="0" i="0" u="none" strike="noStrike" kern="1200" cap="none" spc="0" normalizeH="0" baseline="0" noProof="0">
                          <a:ln>
                            <a:noFill/>
                          </a:ln>
                          <a:solidFill>
                            <a:srgbClr val="000000"/>
                          </a:solidFill>
                          <a:effectLst/>
                          <a:uLnTx/>
                          <a:uFillTx/>
                          <a:latin typeface="Arial"/>
                          <a:ea typeface="+mn-ea"/>
                          <a:cs typeface="+mn-cs"/>
                        </a:rPr>
                        <a:t>21 – 24</a:t>
                      </a:r>
                      <a:endParaRPr kumimoji="0" lang="en-US" sz="1600" b="0" i="0" u="none" strike="noStrike" kern="1200" cap="none" spc="0" normalizeH="0" baseline="0" noProof="0">
                        <a:ln>
                          <a:noFill/>
                        </a:ln>
                        <a:solidFill>
                          <a:srgbClr val="000000"/>
                        </a:solidFill>
                        <a:effectLst/>
                        <a:uLnTx/>
                        <a:uFillTx/>
                        <a:latin typeface="Arial"/>
                        <a:ea typeface="+mn-ea"/>
                        <a:cs typeface="+mn-cs"/>
                      </a:endParaRP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8770189"/>
                  </a:ext>
                </a:extLst>
              </a:tr>
              <a:tr h="774672">
                <a:tc>
                  <a:txBody>
                    <a:bodyPr/>
                    <a:lstStyle/>
                    <a:p>
                      <a:pPr lvl="0">
                        <a:buNone/>
                      </a:pPr>
                      <a:r>
                        <a:rPr lang="en-US" sz="1600" b="0" strike="noStrike">
                          <a:solidFill>
                            <a:schemeClr val="tx1"/>
                          </a:solidFill>
                        </a:rPr>
                        <a:t>Timeline &amp; Next Steps</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lang="en-US" sz="1600" b="0" i="0" u="none" strike="noStrike" kern="1200" cap="none" spc="0" normalizeH="0" baseline="0" noProof="0">
                          <a:ln>
                            <a:noFill/>
                          </a:ln>
                          <a:solidFill>
                            <a:srgbClr val="000000"/>
                          </a:solidFill>
                          <a:effectLst/>
                          <a:uLnTx/>
                          <a:uFillTx/>
                          <a:latin typeface="Arial"/>
                          <a:ea typeface="+mn-ea"/>
                          <a:cs typeface="+mn-cs"/>
                        </a:rPr>
                        <a:t>25 – 27</a:t>
                      </a:r>
                      <a:endParaRPr kumimoji="0" lang="en-US" sz="1600" b="0" i="0" u="none" strike="noStrike" kern="1200" cap="none" spc="0" normalizeH="0" baseline="0" noProof="0">
                        <a:ln>
                          <a:noFill/>
                        </a:ln>
                        <a:solidFill>
                          <a:srgbClr val="000000"/>
                        </a:solidFill>
                        <a:effectLst/>
                        <a:uLnTx/>
                        <a:uFillTx/>
                        <a:latin typeface="Arial"/>
                        <a:ea typeface="+mn-ea"/>
                        <a:cs typeface="+mn-cs"/>
                      </a:endParaRP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3868049"/>
                  </a:ext>
                </a:extLst>
              </a:tr>
            </a:tbl>
          </a:graphicData>
        </a:graphic>
      </p:graphicFrame>
      <p:sp>
        <p:nvSpPr>
          <p:cNvPr id="7" name="Title 1">
            <a:extLst>
              <a:ext uri="{FF2B5EF4-FFF2-40B4-BE49-F238E27FC236}">
                <a16:creationId xmlns:a16="http://schemas.microsoft.com/office/drawing/2014/main" id="{4CA91A0F-8708-3D73-4D59-9DC4E67C33D8}"/>
              </a:ext>
            </a:extLst>
          </p:cNvPr>
          <p:cNvSpPr>
            <a:spLocks noGrp="1"/>
          </p:cNvSpPr>
          <p:nvPr>
            <p:ph type="title"/>
          </p:nvPr>
        </p:nvSpPr>
        <p:spPr>
          <a:xfrm>
            <a:off x="554736" y="172212"/>
            <a:ext cx="10602418" cy="731520"/>
          </a:xfrm>
        </p:spPr>
        <p:txBody>
          <a:bodyPr/>
          <a:lstStyle/>
          <a:p>
            <a:r>
              <a:rPr lang="en-US" sz="2800">
                <a:cs typeface="Arial"/>
              </a:rPr>
              <a:t>Agenda</a:t>
            </a:r>
          </a:p>
        </p:txBody>
      </p:sp>
    </p:spTree>
    <p:extLst>
      <p:ext uri="{BB962C8B-B14F-4D97-AF65-F5344CB8AC3E}">
        <p14:creationId xmlns:p14="http://schemas.microsoft.com/office/powerpoint/2010/main" val="27180070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A85ED2A-56F7-937A-F2D9-1BB40DE9CC7B}"/>
              </a:ext>
            </a:extLst>
          </p:cNvPr>
          <p:cNvSpPr/>
          <p:nvPr/>
        </p:nvSpPr>
        <p:spPr>
          <a:xfrm>
            <a:off x="556515" y="2398212"/>
            <a:ext cx="11031481" cy="927203"/>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ts val="2175"/>
              </a:lnSpc>
              <a:spcBef>
                <a:spcPts val="300"/>
              </a:spcBef>
              <a:spcAft>
                <a:spcPts val="300"/>
              </a:spcAft>
            </a:pPr>
            <a:r>
              <a:rPr lang="en-US" b="1">
                <a:solidFill>
                  <a:srgbClr val="14558F"/>
                </a:solidFill>
                <a:latin typeface="Aptos"/>
                <a:ea typeface="+mn-lt"/>
                <a:cs typeface="+mn-lt"/>
              </a:rPr>
              <a:t>Communities designated as Seasonal Communities by EOHLC based on statutory metrics </a:t>
            </a:r>
            <a:r>
              <a:rPr lang="en-US" b="1" u="sng">
                <a:solidFill>
                  <a:srgbClr val="14558F"/>
                </a:solidFill>
                <a:latin typeface="Aptos"/>
                <a:ea typeface="+mn-lt"/>
                <a:cs typeface="+mn-lt"/>
              </a:rPr>
              <a:t>must</a:t>
            </a:r>
            <a:r>
              <a:rPr lang="en-US" b="1">
                <a:solidFill>
                  <a:srgbClr val="14558F"/>
                </a:solidFill>
                <a:latin typeface="Aptos"/>
                <a:ea typeface="+mn-lt"/>
                <a:cs typeface="+mn-lt"/>
              </a:rPr>
              <a:t> … </a:t>
            </a:r>
            <a:endParaRPr lang="en-US">
              <a:solidFill>
                <a:srgbClr val="14558F"/>
              </a:solidFill>
              <a:latin typeface="Aptos"/>
              <a:ea typeface="+mn-lt"/>
              <a:cs typeface="+mn-lt"/>
            </a:endParaRPr>
          </a:p>
          <a:p>
            <a:pPr marL="342900" indent="-342900">
              <a:lnSpc>
                <a:spcPts val="2175"/>
              </a:lnSpc>
              <a:spcBef>
                <a:spcPts val="300"/>
              </a:spcBef>
              <a:spcAft>
                <a:spcPts val="300"/>
              </a:spcAft>
              <a:buFont typeface="Arial" panose="020B0604020202020204" pitchFamily="34" charset="0"/>
              <a:buChar char="•"/>
            </a:pPr>
            <a:r>
              <a:rPr lang="en-US">
                <a:solidFill>
                  <a:srgbClr val="14558F"/>
                </a:solidFill>
                <a:latin typeface="Aptos"/>
                <a:ea typeface="+mn-lt"/>
                <a:cs typeface="+mn-lt"/>
              </a:rPr>
              <a:t>Take a local vote to accept or deny that designation</a:t>
            </a:r>
            <a:endParaRPr lang="en-US">
              <a:solidFill>
                <a:srgbClr val="14558F"/>
              </a:solidFill>
              <a:cs typeface="Arial"/>
            </a:endParaRPr>
          </a:p>
        </p:txBody>
      </p:sp>
      <p:sp>
        <p:nvSpPr>
          <p:cNvPr id="2" name="Title 1">
            <a:extLst>
              <a:ext uri="{FF2B5EF4-FFF2-40B4-BE49-F238E27FC236}">
                <a16:creationId xmlns:a16="http://schemas.microsoft.com/office/drawing/2014/main" id="{DA9B8582-7EC2-7904-9B06-7D6A17C4B93B}"/>
              </a:ext>
            </a:extLst>
          </p:cNvPr>
          <p:cNvSpPr>
            <a:spLocks noGrp="1"/>
          </p:cNvSpPr>
          <p:nvPr>
            <p:ph type="title"/>
          </p:nvPr>
        </p:nvSpPr>
        <p:spPr/>
        <p:txBody>
          <a:bodyPr/>
          <a:lstStyle/>
          <a:p>
            <a:r>
              <a:rPr lang="en-US" sz="2800">
                <a:cs typeface="Arial"/>
              </a:rPr>
              <a:t>Process for Designation</a:t>
            </a:r>
            <a:endParaRPr lang="en-US" sz="2800"/>
          </a:p>
        </p:txBody>
      </p:sp>
      <p:sp>
        <p:nvSpPr>
          <p:cNvPr id="7" name="Rectangle 6">
            <a:extLst>
              <a:ext uri="{FF2B5EF4-FFF2-40B4-BE49-F238E27FC236}">
                <a16:creationId xmlns:a16="http://schemas.microsoft.com/office/drawing/2014/main" id="{43FDFA8C-4FCA-03D2-C24B-D2C5FB2867A3}"/>
              </a:ext>
            </a:extLst>
          </p:cNvPr>
          <p:cNvSpPr/>
          <p:nvPr/>
        </p:nvSpPr>
        <p:spPr>
          <a:xfrm>
            <a:off x="552616" y="1330471"/>
            <a:ext cx="11025911" cy="83200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ts val="2175"/>
              </a:lnSpc>
              <a:spcBef>
                <a:spcPts val="300"/>
              </a:spcBef>
              <a:spcAft>
                <a:spcPts val="300"/>
              </a:spcAft>
            </a:pPr>
            <a:r>
              <a:rPr lang="en-US" b="1">
                <a:solidFill>
                  <a:srgbClr val="14558F"/>
                </a:solidFill>
                <a:latin typeface="Aptos"/>
              </a:rPr>
              <a:t>Communities designated as Seasonal Communities by statute </a:t>
            </a:r>
            <a:r>
              <a:rPr lang="en-US" b="1" u="sng">
                <a:solidFill>
                  <a:srgbClr val="14558F"/>
                </a:solidFill>
                <a:latin typeface="Aptos"/>
              </a:rPr>
              <a:t>must</a:t>
            </a:r>
            <a:r>
              <a:rPr lang="en-US" b="1">
                <a:solidFill>
                  <a:srgbClr val="14558F"/>
                </a:solidFill>
                <a:latin typeface="Aptos"/>
              </a:rPr>
              <a:t> ...</a:t>
            </a:r>
            <a:endParaRPr lang="en-US">
              <a:solidFill>
                <a:srgbClr val="14558F"/>
              </a:solidFill>
              <a:latin typeface="Aptos"/>
            </a:endParaRPr>
          </a:p>
          <a:p>
            <a:pPr marL="342900" indent="-342900">
              <a:lnSpc>
                <a:spcPts val="2175"/>
              </a:lnSpc>
              <a:spcBef>
                <a:spcPts val="300"/>
              </a:spcBef>
              <a:spcAft>
                <a:spcPts val="300"/>
              </a:spcAft>
              <a:buFont typeface="Arial" panose="020B0604020202020204" pitchFamily="34" charset="0"/>
              <a:buChar char="•"/>
            </a:pPr>
            <a:r>
              <a:rPr lang="en-US">
                <a:solidFill>
                  <a:srgbClr val="14558F"/>
                </a:solidFill>
                <a:latin typeface="Aptos"/>
              </a:rPr>
              <a:t>Take a local vote to accept or deny that designation.</a:t>
            </a:r>
            <a:endParaRPr lang="en-US">
              <a:solidFill>
                <a:srgbClr val="14558F"/>
              </a:solidFill>
              <a:cs typeface="Arial"/>
            </a:endParaRPr>
          </a:p>
        </p:txBody>
      </p:sp>
      <p:sp>
        <p:nvSpPr>
          <p:cNvPr id="3" name="Rectangle 2">
            <a:extLst>
              <a:ext uri="{FF2B5EF4-FFF2-40B4-BE49-F238E27FC236}">
                <a16:creationId xmlns:a16="http://schemas.microsoft.com/office/drawing/2014/main" id="{2E4DA4D3-AA7C-08FB-70E1-2389494B2323}"/>
              </a:ext>
            </a:extLst>
          </p:cNvPr>
          <p:cNvSpPr/>
          <p:nvPr/>
        </p:nvSpPr>
        <p:spPr>
          <a:xfrm>
            <a:off x="564339" y="3582929"/>
            <a:ext cx="11019228" cy="143823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ts val="2175"/>
              </a:lnSpc>
              <a:spcBef>
                <a:spcPts val="300"/>
              </a:spcBef>
              <a:spcAft>
                <a:spcPts val="300"/>
              </a:spcAft>
            </a:pPr>
            <a:r>
              <a:rPr lang="en-US" b="1">
                <a:solidFill>
                  <a:srgbClr val="14558F"/>
                </a:solidFill>
                <a:latin typeface="Aptos"/>
              </a:rPr>
              <a:t>Communities </a:t>
            </a:r>
            <a:r>
              <a:rPr lang="en-US" b="1" u="sng">
                <a:solidFill>
                  <a:srgbClr val="14558F"/>
                </a:solidFill>
                <a:latin typeface="Aptos"/>
              </a:rPr>
              <a:t>NEITHER</a:t>
            </a:r>
            <a:r>
              <a:rPr lang="en-US" b="1">
                <a:solidFill>
                  <a:srgbClr val="14558F"/>
                </a:solidFill>
                <a:latin typeface="Aptos"/>
              </a:rPr>
              <a:t> designated by statute </a:t>
            </a:r>
            <a:r>
              <a:rPr lang="en-US" b="1" u="sng">
                <a:solidFill>
                  <a:srgbClr val="14558F"/>
                </a:solidFill>
                <a:latin typeface="Aptos"/>
              </a:rPr>
              <a:t>NOR</a:t>
            </a:r>
            <a:r>
              <a:rPr lang="en-US" b="1">
                <a:solidFill>
                  <a:srgbClr val="14558F"/>
                </a:solidFill>
                <a:latin typeface="Aptos"/>
              </a:rPr>
              <a:t> by EOHLC which are interested in receiving the Seasonal Communities designation must... </a:t>
            </a:r>
            <a:endParaRPr lang="en-US">
              <a:solidFill>
                <a:srgbClr val="14558F"/>
              </a:solidFill>
              <a:latin typeface="Aptos"/>
            </a:endParaRPr>
          </a:p>
          <a:p>
            <a:pPr marL="342900" indent="-342900">
              <a:lnSpc>
                <a:spcPts val="2175"/>
              </a:lnSpc>
              <a:spcBef>
                <a:spcPts val="300"/>
              </a:spcBef>
              <a:spcAft>
                <a:spcPts val="300"/>
              </a:spcAft>
              <a:buFont typeface="Arial" panose="020B0604020202020204" pitchFamily="34" charset="0"/>
              <a:buChar char="•"/>
            </a:pPr>
            <a:r>
              <a:rPr lang="en-US">
                <a:solidFill>
                  <a:srgbClr val="14558F"/>
                </a:solidFill>
                <a:latin typeface="Aptos"/>
              </a:rPr>
              <a:t>Formally request a designation through a process to be determined by EOHLC in consultation with the Council </a:t>
            </a:r>
          </a:p>
          <a:p>
            <a:pPr marL="342900" indent="-342900">
              <a:lnSpc>
                <a:spcPts val="2175"/>
              </a:lnSpc>
              <a:spcBef>
                <a:spcPts val="300"/>
              </a:spcBef>
              <a:spcAft>
                <a:spcPts val="300"/>
              </a:spcAft>
              <a:buFont typeface="Arial" panose="020B0604020202020204" pitchFamily="34" charset="0"/>
              <a:buChar char="•"/>
            </a:pPr>
            <a:r>
              <a:rPr lang="en-US">
                <a:solidFill>
                  <a:srgbClr val="14558F"/>
                </a:solidFill>
                <a:latin typeface="Aptos"/>
              </a:rPr>
              <a:t>Take a local vote to accept or deny that designation</a:t>
            </a:r>
            <a:endParaRPr lang="en-US">
              <a:solidFill>
                <a:srgbClr val="14558F"/>
              </a:solidFill>
              <a:cs typeface="Arial"/>
            </a:endParaRPr>
          </a:p>
        </p:txBody>
      </p:sp>
      <p:sp>
        <p:nvSpPr>
          <p:cNvPr id="5" name="TextBox 4">
            <a:extLst>
              <a:ext uri="{FF2B5EF4-FFF2-40B4-BE49-F238E27FC236}">
                <a16:creationId xmlns:a16="http://schemas.microsoft.com/office/drawing/2014/main" id="{042EC54F-0F80-631C-EC10-B16FC6D3F7A4}"/>
              </a:ext>
            </a:extLst>
          </p:cNvPr>
          <p:cNvSpPr txBox="1"/>
          <p:nvPr/>
        </p:nvSpPr>
        <p:spPr>
          <a:xfrm>
            <a:off x="562342" y="5689913"/>
            <a:ext cx="8804029" cy="27699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a:solidFill>
                  <a:srgbClr val="14558F"/>
                </a:solidFill>
                <a:latin typeface="Aptos"/>
                <a:cs typeface="Arial"/>
              </a:rPr>
              <a:t>**HLC may designate further communities at the discretion of the Secretary</a:t>
            </a:r>
            <a:endParaRPr lang="en-US"/>
          </a:p>
        </p:txBody>
      </p:sp>
    </p:spTree>
    <p:extLst>
      <p:ext uri="{BB962C8B-B14F-4D97-AF65-F5344CB8AC3E}">
        <p14:creationId xmlns:p14="http://schemas.microsoft.com/office/powerpoint/2010/main" val="15764726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4AAC9A-A061-C620-3A45-87DFFDA2FEF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768E46C-5BCB-E690-3868-9CFF1CF7C0A7}"/>
              </a:ext>
            </a:extLst>
          </p:cNvPr>
          <p:cNvSpPr>
            <a:spLocks noGrp="1"/>
          </p:cNvSpPr>
          <p:nvPr>
            <p:ph type="title"/>
          </p:nvPr>
        </p:nvSpPr>
        <p:spPr>
          <a:xfrm>
            <a:off x="2882723" y="2924842"/>
            <a:ext cx="8181508" cy="677108"/>
          </a:xfrm>
        </p:spPr>
        <p:txBody>
          <a:bodyPr/>
          <a:lstStyle/>
          <a:p>
            <a:pPr algn="l"/>
            <a:r>
              <a:rPr lang="en-US">
                <a:cs typeface="Arial"/>
              </a:rPr>
              <a:t>Working Groups</a:t>
            </a:r>
          </a:p>
        </p:txBody>
      </p:sp>
    </p:spTree>
    <p:extLst>
      <p:ext uri="{BB962C8B-B14F-4D97-AF65-F5344CB8AC3E}">
        <p14:creationId xmlns:p14="http://schemas.microsoft.com/office/powerpoint/2010/main" val="37291291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DF8693-EBD4-D495-0D3C-CD8563295369}"/>
              </a:ext>
            </a:extLst>
          </p:cNvPr>
          <p:cNvSpPr>
            <a:spLocks noGrp="1"/>
          </p:cNvSpPr>
          <p:nvPr>
            <p:ph type="title"/>
          </p:nvPr>
        </p:nvSpPr>
        <p:spPr/>
        <p:txBody>
          <a:bodyPr/>
          <a:lstStyle/>
          <a:p>
            <a:r>
              <a:rPr lang="en-US" sz="2800">
                <a:cs typeface="Arial"/>
              </a:rPr>
              <a:t>Why Working Groups?</a:t>
            </a:r>
            <a:endParaRPr lang="en-US" sz="2800"/>
          </a:p>
        </p:txBody>
      </p:sp>
      <p:sp>
        <p:nvSpPr>
          <p:cNvPr id="3" name="Text Placeholder 2">
            <a:extLst>
              <a:ext uri="{FF2B5EF4-FFF2-40B4-BE49-F238E27FC236}">
                <a16:creationId xmlns:a16="http://schemas.microsoft.com/office/drawing/2014/main" id="{881174BC-53F0-B697-7675-7A4CD487D617}"/>
              </a:ext>
            </a:extLst>
          </p:cNvPr>
          <p:cNvSpPr>
            <a:spLocks noGrp="1"/>
          </p:cNvSpPr>
          <p:nvPr>
            <p:ph type="body" sz="quarter" idx="12"/>
          </p:nvPr>
        </p:nvSpPr>
        <p:spPr>
          <a:xfrm>
            <a:off x="822979" y="1385664"/>
            <a:ext cx="10544645" cy="4655121"/>
          </a:xfrm>
        </p:spPr>
        <p:txBody>
          <a:bodyPr vert="horz" wrap="square" lIns="0" tIns="0" rIns="0" bIns="0" rtlCol="0" anchor="t">
            <a:spAutoFit/>
          </a:bodyPr>
          <a:lstStyle/>
          <a:p>
            <a:r>
              <a:rPr lang="en-US" i="0">
                <a:cs typeface="Arial"/>
              </a:rPr>
              <a:t>To facilitate the swift, but thoughtful development of Seasonal Communities regulations by Fall 2025, EOHLC proposes forming working groups to provide recommendations on each necessary section of regulations.</a:t>
            </a:r>
          </a:p>
          <a:p>
            <a:endParaRPr lang="en-US" i="0"/>
          </a:p>
          <a:p>
            <a:pPr lvl="1" indent="-285750"/>
            <a:r>
              <a:rPr lang="en-US" i="0">
                <a:cs typeface="Arial"/>
              </a:rPr>
              <a:t>Meeting Timeline: Mid-March – Late April</a:t>
            </a:r>
          </a:p>
          <a:p>
            <a:pPr lvl="1" indent="-285750"/>
            <a:endParaRPr lang="en-US" i="0">
              <a:cs typeface="Arial"/>
            </a:endParaRPr>
          </a:p>
          <a:p>
            <a:pPr lvl="1" indent="-285750"/>
            <a:r>
              <a:rPr lang="en-US" i="0">
                <a:cs typeface="Arial"/>
              </a:rPr>
              <a:t>Meeting Frequency: Bi-weekly (~3 meetings)</a:t>
            </a:r>
            <a:endParaRPr lang="en-US">
              <a:cs typeface="Arial" panose="020B0604020202020204" pitchFamily="34" charset="0"/>
            </a:endParaRPr>
          </a:p>
          <a:p>
            <a:pPr lvl="1" indent="-285750"/>
            <a:endParaRPr lang="en-US" i="0">
              <a:cs typeface="Arial" panose="020B0604020202020204" pitchFamily="34" charset="0"/>
            </a:endParaRPr>
          </a:p>
          <a:p>
            <a:pPr lvl="1" indent="-285750"/>
            <a:r>
              <a:rPr lang="en-US" i="0">
                <a:cs typeface="Arial"/>
              </a:rPr>
              <a:t>Meeting Duration: 1 hour </a:t>
            </a:r>
          </a:p>
          <a:p>
            <a:pPr lvl="1" indent="-285750"/>
            <a:endParaRPr lang="en-US">
              <a:solidFill>
                <a:srgbClr val="000000"/>
              </a:solidFill>
              <a:cs typeface="Arial"/>
            </a:endParaRPr>
          </a:p>
          <a:p>
            <a:pPr lvl="1" indent="-285750"/>
            <a:r>
              <a:rPr lang="en-US">
                <a:solidFill>
                  <a:srgbClr val="000000"/>
                </a:solidFill>
                <a:cs typeface="Arial"/>
              </a:rPr>
              <a:t>Working Group Reports: May Council Meeting</a:t>
            </a:r>
            <a:endParaRPr lang="en-US" i="0">
              <a:solidFill>
                <a:srgbClr val="000000"/>
              </a:solidFill>
            </a:endParaRPr>
          </a:p>
          <a:p>
            <a:endParaRPr lang="en-US" i="0"/>
          </a:p>
          <a:p>
            <a:r>
              <a:rPr lang="en-US" i="0">
                <a:cs typeface="Arial"/>
              </a:rPr>
              <a:t>Council members will select working groups preferences in a follow-up survey. Each group will then work to identify and develop recommendations to address key questions and concerns requisite to the development of regulations in their respective subject matter area.</a:t>
            </a:r>
            <a:endParaRPr lang="en-US" i="0"/>
          </a:p>
        </p:txBody>
      </p:sp>
    </p:spTree>
    <p:extLst>
      <p:ext uri="{BB962C8B-B14F-4D97-AF65-F5344CB8AC3E}">
        <p14:creationId xmlns:p14="http://schemas.microsoft.com/office/powerpoint/2010/main" val="36855453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6AF2E8-4B7C-436F-6416-E69CDAD5782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6F656D5-C655-D8A4-436C-AF982FAC5526}"/>
              </a:ext>
            </a:extLst>
          </p:cNvPr>
          <p:cNvSpPr>
            <a:spLocks noGrp="1"/>
          </p:cNvSpPr>
          <p:nvPr>
            <p:ph type="title"/>
          </p:nvPr>
        </p:nvSpPr>
        <p:spPr/>
        <p:txBody>
          <a:bodyPr/>
          <a:lstStyle/>
          <a:p>
            <a:r>
              <a:rPr lang="en-US" sz="2800">
                <a:cs typeface="Arial"/>
              </a:rPr>
              <a:t>Working Group Formation (I/II)</a:t>
            </a:r>
            <a:endParaRPr lang="en-US" sz="2800"/>
          </a:p>
        </p:txBody>
      </p:sp>
      <p:sp>
        <p:nvSpPr>
          <p:cNvPr id="3" name="Text Placeholder 2">
            <a:extLst>
              <a:ext uri="{FF2B5EF4-FFF2-40B4-BE49-F238E27FC236}">
                <a16:creationId xmlns:a16="http://schemas.microsoft.com/office/drawing/2014/main" id="{FD3CEB0C-0EE2-94AD-67D6-7C57FA6A65E4}"/>
              </a:ext>
            </a:extLst>
          </p:cNvPr>
          <p:cNvSpPr>
            <a:spLocks noGrp="1"/>
          </p:cNvSpPr>
          <p:nvPr>
            <p:ph type="body" sz="quarter" idx="12"/>
          </p:nvPr>
        </p:nvSpPr>
        <p:spPr>
          <a:xfrm>
            <a:off x="554037" y="1327214"/>
            <a:ext cx="11082528" cy="5047536"/>
          </a:xfrm>
        </p:spPr>
        <p:txBody>
          <a:bodyPr vert="horz" wrap="square" lIns="0" tIns="0" rIns="0" bIns="0" rtlCol="0" anchor="t">
            <a:spAutoFit/>
          </a:bodyPr>
          <a:lstStyle/>
          <a:p>
            <a:r>
              <a:rPr lang="en-US" i="0">
                <a:solidFill>
                  <a:schemeClr val="tx1"/>
                </a:solidFill>
                <a:latin typeface="Aptos"/>
                <a:cs typeface="Arial"/>
              </a:rPr>
              <a:t>GROUP 1 –  METRICS &amp; FURTHER DESIGNATION</a:t>
            </a:r>
          </a:p>
          <a:p>
            <a:r>
              <a:rPr lang="en-US" i="0">
                <a:solidFill>
                  <a:srgbClr val="14558F"/>
                </a:solidFill>
                <a:latin typeface="Aptos"/>
                <a:cs typeface="Arial"/>
              </a:rPr>
              <a:t>Statute establishes the following metrics to consider in further designations:</a:t>
            </a:r>
            <a:endParaRPr lang="en-US">
              <a:solidFill>
                <a:srgbClr val="14558F"/>
              </a:solidFill>
              <a:latin typeface="Aptos"/>
              <a:cs typeface="Arial"/>
            </a:endParaRPr>
          </a:p>
          <a:p>
            <a:pPr marL="742950" lvl="1" indent="-285750">
              <a:buFont typeface="Wingdings"/>
              <a:buChar char="§"/>
            </a:pPr>
            <a:r>
              <a:rPr lang="en-US" sz="1600">
                <a:solidFill>
                  <a:srgbClr val="000000"/>
                </a:solidFill>
                <a:latin typeface="Aptos"/>
                <a:cs typeface="Arial"/>
              </a:rPr>
              <a:t>Short-Term Rentals</a:t>
            </a:r>
          </a:p>
          <a:p>
            <a:pPr marL="742950" lvl="1" indent="-285750">
              <a:buFont typeface="Wingdings"/>
              <a:buChar char="§"/>
            </a:pPr>
            <a:r>
              <a:rPr lang="en-US" sz="1600">
                <a:solidFill>
                  <a:srgbClr val="000000"/>
                </a:solidFill>
                <a:latin typeface="Aptos"/>
                <a:cs typeface="Arial"/>
              </a:rPr>
              <a:t>Seasonal Population</a:t>
            </a:r>
          </a:p>
          <a:p>
            <a:pPr marL="742950" lvl="1" indent="-285750">
              <a:buFont typeface="Wingdings"/>
              <a:buChar char="§"/>
            </a:pPr>
            <a:r>
              <a:rPr lang="en-US" sz="1600">
                <a:solidFill>
                  <a:srgbClr val="000000"/>
                </a:solidFill>
                <a:latin typeface="Aptos"/>
                <a:cs typeface="Arial"/>
              </a:rPr>
              <a:t>Median Income to Median Home Price Disparities</a:t>
            </a:r>
          </a:p>
          <a:p>
            <a:pPr marL="742950" lvl="1" indent="-285750">
              <a:buFont typeface="Wingdings"/>
              <a:buChar char="§"/>
            </a:pPr>
            <a:r>
              <a:rPr lang="en-US" sz="1600">
                <a:solidFill>
                  <a:srgbClr val="000000"/>
                </a:solidFill>
                <a:latin typeface="Aptos"/>
                <a:cs typeface="Arial"/>
              </a:rPr>
              <a:t>Seasonal Housing Stock</a:t>
            </a:r>
          </a:p>
          <a:p>
            <a:pPr marL="742950" lvl="1" indent="-285750">
              <a:buFont typeface="Wingdings"/>
              <a:buChar char="§"/>
            </a:pPr>
            <a:r>
              <a:rPr lang="en-US" sz="1600">
                <a:solidFill>
                  <a:srgbClr val="000000"/>
                </a:solidFill>
                <a:latin typeface="Aptos"/>
                <a:cs typeface="Arial"/>
              </a:rPr>
              <a:t>Seasonal Employment</a:t>
            </a:r>
            <a:endParaRPr lang="en-US" sz="1600"/>
          </a:p>
          <a:p>
            <a:pPr>
              <a:spcAft>
                <a:spcPts val="1200"/>
              </a:spcAft>
            </a:pPr>
            <a:r>
              <a:rPr lang="en-US" sz="1600" i="0">
                <a:solidFill>
                  <a:srgbClr val="14558F"/>
                </a:solidFill>
                <a:latin typeface="Aptos"/>
                <a:cs typeface="Arial"/>
              </a:rPr>
              <a:t>EOHLC proposes to consider these factors together through a combined Seasonal Communities Score. This group will work to refine the prototype score developed and reach consensus on a framework for the designation of further communities.</a:t>
            </a:r>
          </a:p>
          <a:p>
            <a:r>
              <a:rPr lang="en-US" i="0">
                <a:solidFill>
                  <a:schemeClr val="tx1"/>
                </a:solidFill>
                <a:latin typeface="Aptos"/>
                <a:cs typeface="Arial"/>
              </a:rPr>
              <a:t>GROUP 2 – YEAR-ROUND HOUSING TRUSTS + OCCUPANCY RESTRICTIONS</a:t>
            </a:r>
            <a:endParaRPr lang="en-US" b="0" i="0">
              <a:solidFill>
                <a:schemeClr val="tx1"/>
              </a:solidFill>
              <a:latin typeface="Aptos"/>
              <a:cs typeface="Arial"/>
            </a:endParaRPr>
          </a:p>
          <a:p>
            <a:pPr marL="742950" lvl="1" indent="-285750">
              <a:buFont typeface="Wingdings,Sans-Serif"/>
              <a:buChar char="§"/>
            </a:pPr>
            <a:r>
              <a:rPr lang="en-US" sz="1600">
                <a:solidFill>
                  <a:srgbClr val="000000"/>
                </a:solidFill>
                <a:latin typeface="Aptos"/>
              </a:rPr>
              <a:t>Year-Round Housing Occupancy Restrictions</a:t>
            </a:r>
          </a:p>
          <a:p>
            <a:pPr marL="742950" lvl="1" indent="-285750">
              <a:buFont typeface="Wingdings,Sans-Serif"/>
              <a:buChar char="§"/>
            </a:pPr>
            <a:r>
              <a:rPr lang="en-US" sz="1600">
                <a:solidFill>
                  <a:srgbClr val="000000"/>
                </a:solidFill>
                <a:latin typeface="Aptos"/>
              </a:rPr>
              <a:t>Year-Round Housing Trusts</a:t>
            </a:r>
          </a:p>
          <a:p>
            <a:pPr marL="742950" lvl="1" indent="-285750">
              <a:buFont typeface="Wingdings,Sans-Serif"/>
              <a:buChar char="§"/>
            </a:pPr>
            <a:r>
              <a:rPr lang="en-US" sz="1600">
                <a:solidFill>
                  <a:srgbClr val="000000"/>
                </a:solidFill>
                <a:latin typeface="Aptos"/>
              </a:rPr>
              <a:t>Year-Round Artist Housing</a:t>
            </a:r>
          </a:p>
          <a:p>
            <a:pPr marL="742950" lvl="1" indent="-285750">
              <a:buFont typeface="Wingdings,Sans-Serif"/>
              <a:buChar char="§"/>
            </a:pPr>
            <a:r>
              <a:rPr lang="en-US" sz="1600">
                <a:solidFill>
                  <a:srgbClr val="000000"/>
                </a:solidFill>
                <a:latin typeface="Aptos"/>
              </a:rPr>
              <a:t>Tiny Homes and Undersized Lots for Year-Round Housing</a:t>
            </a:r>
          </a:p>
          <a:p>
            <a:r>
              <a:rPr lang="en-US" sz="1600" i="0">
                <a:latin typeface="Aptos"/>
                <a:cs typeface="Arial"/>
              </a:rPr>
              <a:t>This group will guide the development of regulations structuring the year-round housing powers of Seasonal Communities.</a:t>
            </a:r>
            <a:endParaRPr lang="en-US" b="1">
              <a:solidFill>
                <a:srgbClr val="14558F"/>
              </a:solidFill>
              <a:latin typeface="Aptos"/>
              <a:cs typeface="Arial"/>
            </a:endParaRPr>
          </a:p>
        </p:txBody>
      </p:sp>
    </p:spTree>
    <p:extLst>
      <p:ext uri="{BB962C8B-B14F-4D97-AF65-F5344CB8AC3E}">
        <p14:creationId xmlns:p14="http://schemas.microsoft.com/office/powerpoint/2010/main" val="23439672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D111A5-36E4-0D29-320E-22352E146D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D093FD-29A0-619C-3A26-3DCA5D53A6B0}"/>
              </a:ext>
            </a:extLst>
          </p:cNvPr>
          <p:cNvSpPr>
            <a:spLocks noGrp="1"/>
          </p:cNvSpPr>
          <p:nvPr>
            <p:ph type="title"/>
          </p:nvPr>
        </p:nvSpPr>
        <p:spPr/>
        <p:txBody>
          <a:bodyPr/>
          <a:lstStyle/>
          <a:p>
            <a:r>
              <a:rPr lang="en-US" sz="2800">
                <a:cs typeface="Arial"/>
              </a:rPr>
              <a:t>Working Group Formation (II/II)</a:t>
            </a:r>
            <a:endParaRPr lang="en-US" sz="2800"/>
          </a:p>
        </p:txBody>
      </p:sp>
      <p:sp>
        <p:nvSpPr>
          <p:cNvPr id="5" name="Text Placeholder 2">
            <a:extLst>
              <a:ext uri="{FF2B5EF4-FFF2-40B4-BE49-F238E27FC236}">
                <a16:creationId xmlns:a16="http://schemas.microsoft.com/office/drawing/2014/main" id="{DEC7B028-D721-4E47-5064-8FA422380651}"/>
              </a:ext>
            </a:extLst>
          </p:cNvPr>
          <p:cNvSpPr txBox="1">
            <a:spLocks/>
          </p:cNvSpPr>
          <p:nvPr/>
        </p:nvSpPr>
        <p:spPr>
          <a:xfrm>
            <a:off x="554037" y="1395472"/>
            <a:ext cx="11082528" cy="3070071"/>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None/>
              <a:defRPr lang="en-US" sz="1800" b="1" i="1" kern="1200">
                <a:solidFill>
                  <a:schemeClr val="accent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2000" i="0">
                <a:solidFill>
                  <a:schemeClr val="tx1"/>
                </a:solidFill>
                <a:latin typeface="Aptos"/>
                <a:cs typeface="Arial"/>
              </a:rPr>
              <a:t>GROUP 3 – TOOLS &amp; REQUIREMENTS: EXISTING AND FUTURE</a:t>
            </a:r>
          </a:p>
          <a:p>
            <a:pPr marL="742950" lvl="1" indent="-285750">
              <a:buFont typeface="Wingdings,Sans-Serif"/>
              <a:buChar char="§"/>
            </a:pPr>
            <a:r>
              <a:rPr lang="en-US">
                <a:solidFill>
                  <a:srgbClr val="000000"/>
                </a:solidFill>
                <a:latin typeface="Aptos"/>
                <a:cs typeface="Arial"/>
              </a:rPr>
              <a:t>Requirement: Tiny Homes By-Right </a:t>
            </a:r>
          </a:p>
          <a:p>
            <a:pPr marL="742950" lvl="1" indent="-285750">
              <a:buFont typeface="Wingdings,Sans-Serif"/>
              <a:buChar char="§"/>
            </a:pPr>
            <a:r>
              <a:rPr lang="en-US">
                <a:solidFill>
                  <a:srgbClr val="000000"/>
                </a:solidFill>
                <a:latin typeface="Aptos"/>
                <a:cs typeface="Arial"/>
              </a:rPr>
              <a:t>Requirement: Undersized Lots</a:t>
            </a:r>
            <a:endParaRPr lang="en-US">
              <a:solidFill>
                <a:srgbClr val="000000"/>
              </a:solidFill>
              <a:latin typeface="Arial"/>
              <a:cs typeface="Arial"/>
            </a:endParaRPr>
          </a:p>
          <a:p>
            <a:pPr marL="742950" lvl="1" indent="-285750">
              <a:buFont typeface="Wingdings,Sans-Serif"/>
              <a:buChar char="§"/>
            </a:pPr>
            <a:r>
              <a:rPr lang="en-US">
                <a:solidFill>
                  <a:srgbClr val="000000"/>
                </a:solidFill>
                <a:latin typeface="Aptos"/>
                <a:cs typeface="Arial"/>
              </a:rPr>
              <a:t>Tool: Municipal Employee Housing – Development &amp; Preference</a:t>
            </a:r>
            <a:endParaRPr lang="en-US">
              <a:cs typeface="Arial"/>
            </a:endParaRPr>
          </a:p>
          <a:p>
            <a:pPr marL="742950" lvl="1" indent="-285750">
              <a:buFont typeface="Wingdings"/>
              <a:buChar char="§"/>
            </a:pPr>
            <a:r>
              <a:rPr lang="en-US">
                <a:solidFill>
                  <a:srgbClr val="000000"/>
                </a:solidFill>
                <a:latin typeface="Aptos"/>
                <a:cs typeface="Arial"/>
              </a:rPr>
              <a:t>Tool: Primary Residence Property Tax Exemption</a:t>
            </a:r>
            <a:endParaRPr lang="en-US">
              <a:cs typeface="Arial"/>
            </a:endParaRPr>
          </a:p>
          <a:p>
            <a:pPr marL="742950" lvl="1" indent="-285750">
              <a:buFont typeface="Wingdings"/>
              <a:buChar char="§"/>
            </a:pPr>
            <a:r>
              <a:rPr lang="en-US">
                <a:latin typeface="Aptos"/>
                <a:cs typeface="Arial"/>
              </a:rPr>
              <a:t>What's next?</a:t>
            </a:r>
            <a:endParaRPr lang="en-US">
              <a:solidFill>
                <a:srgbClr val="000000"/>
              </a:solidFill>
              <a:latin typeface="Aptos"/>
              <a:cs typeface="Arial"/>
            </a:endParaRPr>
          </a:p>
          <a:p>
            <a:r>
              <a:rPr lang="en-US" i="0">
                <a:solidFill>
                  <a:srgbClr val="14558F"/>
                </a:solidFill>
                <a:latin typeface="Aptos"/>
                <a:cs typeface="Arial"/>
              </a:rPr>
              <a:t>This group will guide the development of regulations structuring all requirements for designated communities, as well as the municipal workforce housing and primary residence tax exemption powers available to them. The group will also consider potential future requirements and tools appropriate for designated communities.</a:t>
            </a:r>
            <a:endParaRPr lang="en-US" i="0">
              <a:latin typeface="Aptos"/>
            </a:endParaRPr>
          </a:p>
        </p:txBody>
      </p:sp>
    </p:spTree>
    <p:extLst>
      <p:ext uri="{BB962C8B-B14F-4D97-AF65-F5344CB8AC3E}">
        <p14:creationId xmlns:p14="http://schemas.microsoft.com/office/powerpoint/2010/main" val="42110365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8D91B8-4CCE-A981-1422-F90EEE48277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7DA2812-89F0-9DAD-8ABD-34CB88CE4C67}"/>
              </a:ext>
            </a:extLst>
          </p:cNvPr>
          <p:cNvSpPr>
            <a:spLocks noGrp="1"/>
          </p:cNvSpPr>
          <p:nvPr>
            <p:ph type="title"/>
          </p:nvPr>
        </p:nvSpPr>
        <p:spPr>
          <a:xfrm>
            <a:off x="2893929" y="2850214"/>
            <a:ext cx="8181508" cy="677108"/>
          </a:xfrm>
        </p:spPr>
        <p:txBody>
          <a:bodyPr/>
          <a:lstStyle/>
          <a:p>
            <a:pPr algn="l"/>
            <a:r>
              <a:rPr lang="en-US"/>
              <a:t>Timeline &amp; Next Steps</a:t>
            </a:r>
          </a:p>
        </p:txBody>
      </p:sp>
    </p:spTree>
    <p:extLst>
      <p:ext uri="{BB962C8B-B14F-4D97-AF65-F5344CB8AC3E}">
        <p14:creationId xmlns:p14="http://schemas.microsoft.com/office/powerpoint/2010/main" val="10803367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4E6A45-616A-9C0E-8C57-64572DA34D11}"/>
              </a:ext>
            </a:extLst>
          </p:cNvPr>
          <p:cNvSpPr>
            <a:spLocks noGrp="1"/>
          </p:cNvSpPr>
          <p:nvPr>
            <p:ph type="title"/>
          </p:nvPr>
        </p:nvSpPr>
        <p:spPr/>
        <p:txBody>
          <a:bodyPr/>
          <a:lstStyle/>
          <a:p>
            <a:r>
              <a:rPr lang="en-US" sz="2800">
                <a:cs typeface="Arial"/>
              </a:rPr>
              <a:t>Timeline</a:t>
            </a:r>
          </a:p>
        </p:txBody>
      </p:sp>
      <p:sp>
        <p:nvSpPr>
          <p:cNvPr id="6" name="Text Placeholder 2">
            <a:extLst>
              <a:ext uri="{FF2B5EF4-FFF2-40B4-BE49-F238E27FC236}">
                <a16:creationId xmlns:a16="http://schemas.microsoft.com/office/drawing/2014/main" id="{32E9536B-B438-BA12-5D97-CC53279D6DC1}"/>
              </a:ext>
            </a:extLst>
          </p:cNvPr>
          <p:cNvSpPr>
            <a:spLocks noGrp="1"/>
          </p:cNvSpPr>
          <p:nvPr>
            <p:ph type="body" sz="quarter" idx="12"/>
          </p:nvPr>
        </p:nvSpPr>
        <p:spPr>
          <a:xfrm>
            <a:off x="554037" y="1582382"/>
            <a:ext cx="11039249" cy="4724370"/>
          </a:xfrm>
        </p:spPr>
        <p:txBody>
          <a:bodyPr vert="horz" wrap="square" lIns="0" tIns="0" rIns="0" bIns="0" rtlCol="0" anchor="t">
            <a:spAutoFit/>
          </a:bodyPr>
          <a:lstStyle/>
          <a:p>
            <a:r>
              <a:rPr lang="en-US" i="0">
                <a:solidFill>
                  <a:schemeClr val="tx1"/>
                </a:solidFill>
                <a:latin typeface="Aptos"/>
                <a:cs typeface="Arial"/>
              </a:rPr>
              <a:t>MARCH - MAY</a:t>
            </a:r>
          </a:p>
          <a:p>
            <a:pPr marL="285750" indent="-285750">
              <a:buFont typeface="Arial" panose="05000000000000000000" pitchFamily="2" charset="2"/>
              <a:buChar char="•"/>
            </a:pPr>
            <a:r>
              <a:rPr lang="en-US" i="0">
                <a:solidFill>
                  <a:srgbClr val="14558F"/>
                </a:solidFill>
                <a:latin typeface="Aptos"/>
                <a:cs typeface="Arial"/>
              </a:rPr>
              <a:t>Working groups meet, develop recommendations</a:t>
            </a:r>
          </a:p>
          <a:p>
            <a:endParaRPr lang="en-US" i="0">
              <a:solidFill>
                <a:schemeClr val="tx1"/>
              </a:solidFill>
              <a:latin typeface="Aptos"/>
              <a:cs typeface="Arial"/>
            </a:endParaRPr>
          </a:p>
          <a:p>
            <a:r>
              <a:rPr lang="en-US" i="0">
                <a:solidFill>
                  <a:schemeClr val="tx1"/>
                </a:solidFill>
                <a:latin typeface="Aptos"/>
                <a:cs typeface="Arial"/>
              </a:rPr>
              <a:t>MAY – JULY</a:t>
            </a:r>
          </a:p>
          <a:p>
            <a:pPr marL="285750" indent="-285750">
              <a:buFont typeface="Arial" panose="05000000000000000000" pitchFamily="2" charset="2"/>
              <a:buChar char="•"/>
            </a:pPr>
            <a:r>
              <a:rPr lang="en-US" i="0">
                <a:solidFill>
                  <a:srgbClr val="14558F"/>
                </a:solidFill>
                <a:latin typeface="Aptos"/>
                <a:cs typeface="Arial"/>
              </a:rPr>
              <a:t>EOHLC drafts regulations shaped by working groups recommendations; target for publicizing draft regulations for comment</a:t>
            </a:r>
          </a:p>
          <a:p>
            <a:endParaRPr lang="en-US" i="0">
              <a:solidFill>
                <a:schemeClr val="tx1"/>
              </a:solidFill>
              <a:latin typeface="Aptos"/>
              <a:cs typeface="Arial"/>
            </a:endParaRPr>
          </a:p>
          <a:p>
            <a:r>
              <a:rPr lang="en-US" i="0">
                <a:solidFill>
                  <a:schemeClr val="tx1"/>
                </a:solidFill>
                <a:latin typeface="Aptos"/>
                <a:cs typeface="Arial"/>
              </a:rPr>
              <a:t>JULY – AUGUST</a:t>
            </a:r>
            <a:endParaRPr lang="en-US" i="0">
              <a:solidFill>
                <a:schemeClr val="tx1"/>
              </a:solidFill>
              <a:latin typeface="Aptos"/>
            </a:endParaRPr>
          </a:p>
          <a:p>
            <a:pPr marL="285750" indent="-285750">
              <a:buFont typeface="Arial" panose="05000000000000000000" pitchFamily="2" charset="2"/>
              <a:buChar char="•"/>
            </a:pPr>
            <a:r>
              <a:rPr lang="en-US" i="0">
                <a:solidFill>
                  <a:srgbClr val="14558F"/>
                </a:solidFill>
                <a:latin typeface="Aptos"/>
                <a:cs typeface="Arial"/>
              </a:rPr>
              <a:t>Target comment period on draft regulations ends, EOHLC revises recommendations based on comments</a:t>
            </a:r>
          </a:p>
          <a:p>
            <a:endParaRPr lang="en-US" i="0">
              <a:solidFill>
                <a:schemeClr val="tx1"/>
              </a:solidFill>
              <a:latin typeface="Aptos"/>
              <a:cs typeface="Arial"/>
            </a:endParaRPr>
          </a:p>
          <a:p>
            <a:r>
              <a:rPr lang="en-US" i="0">
                <a:solidFill>
                  <a:schemeClr val="tx1"/>
                </a:solidFill>
                <a:latin typeface="Aptos"/>
                <a:cs typeface="Arial"/>
              </a:rPr>
              <a:t>SEPTEMBER</a:t>
            </a:r>
          </a:p>
          <a:p>
            <a:pPr marL="285750" indent="-285750">
              <a:buFont typeface="Arial" panose="05000000000000000000" pitchFamily="2" charset="2"/>
              <a:buChar char="•"/>
            </a:pPr>
            <a:r>
              <a:rPr lang="en-US" i="0">
                <a:solidFill>
                  <a:srgbClr val="14558F"/>
                </a:solidFill>
                <a:latin typeface="Aptos"/>
                <a:cs typeface="Arial"/>
              </a:rPr>
              <a:t>Target for final regulations to be filed and publicized</a:t>
            </a:r>
            <a:endParaRPr lang="en-US" i="0">
              <a:solidFill>
                <a:srgbClr val="14558F"/>
              </a:solidFill>
              <a:latin typeface="Aptos"/>
            </a:endParaRPr>
          </a:p>
          <a:p>
            <a:endParaRPr lang="en-US" i="0">
              <a:solidFill>
                <a:schemeClr val="tx1"/>
              </a:solidFill>
              <a:latin typeface="Aptos"/>
            </a:endParaRPr>
          </a:p>
        </p:txBody>
      </p:sp>
    </p:spTree>
    <p:extLst>
      <p:ext uri="{BB962C8B-B14F-4D97-AF65-F5344CB8AC3E}">
        <p14:creationId xmlns:p14="http://schemas.microsoft.com/office/powerpoint/2010/main" val="36859540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0E64B7-449D-C64F-0017-ACA22C53072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EAFD38-6949-D8B6-7B94-4061545F3A17}"/>
              </a:ext>
            </a:extLst>
          </p:cNvPr>
          <p:cNvSpPr>
            <a:spLocks noGrp="1"/>
          </p:cNvSpPr>
          <p:nvPr>
            <p:ph type="title"/>
          </p:nvPr>
        </p:nvSpPr>
        <p:spPr/>
        <p:txBody>
          <a:bodyPr/>
          <a:lstStyle/>
          <a:p>
            <a:r>
              <a:rPr lang="en-US" sz="2800">
                <a:cs typeface="Arial"/>
              </a:rPr>
              <a:t>Next Steps</a:t>
            </a:r>
          </a:p>
        </p:txBody>
      </p:sp>
      <p:graphicFrame>
        <p:nvGraphicFramePr>
          <p:cNvPr id="3" name="Table 7">
            <a:extLst>
              <a:ext uri="{FF2B5EF4-FFF2-40B4-BE49-F238E27FC236}">
                <a16:creationId xmlns:a16="http://schemas.microsoft.com/office/drawing/2014/main" id="{4FA84852-A84F-5FDE-9088-2E7AAAE6660B}"/>
              </a:ext>
            </a:extLst>
          </p:cNvPr>
          <p:cNvGraphicFramePr>
            <a:graphicFrameLocks noGrp="1"/>
          </p:cNvGraphicFramePr>
          <p:nvPr>
            <p:extLst>
              <p:ext uri="{D42A27DB-BD31-4B8C-83A1-F6EECF244321}">
                <p14:modId xmlns:p14="http://schemas.microsoft.com/office/powerpoint/2010/main" val="3645489056"/>
              </p:ext>
            </p:extLst>
          </p:nvPr>
        </p:nvGraphicFramePr>
        <p:xfrm>
          <a:off x="627307" y="1621972"/>
          <a:ext cx="10937055" cy="4371268"/>
        </p:xfrm>
        <a:graphic>
          <a:graphicData uri="http://schemas.openxmlformats.org/drawingml/2006/table">
            <a:tbl>
              <a:tblPr firstRow="1" bandRow="1">
                <a:tableStyleId>{5C22544A-7EE6-4342-B048-85BDC9FD1C3A}</a:tableStyleId>
              </a:tblPr>
              <a:tblGrid>
                <a:gridCol w="10937055">
                  <a:extLst>
                    <a:ext uri="{9D8B030D-6E8A-4147-A177-3AD203B41FA5}">
                      <a16:colId xmlns:a16="http://schemas.microsoft.com/office/drawing/2014/main" val="3478081800"/>
                    </a:ext>
                  </a:extLst>
                </a:gridCol>
              </a:tblGrid>
              <a:tr h="874254">
                <a:tc>
                  <a:txBody>
                    <a:bodyPr/>
                    <a:lstStyle/>
                    <a:p>
                      <a:pPr marL="229870" marR="0" lvl="0" indent="0" algn="l" rtl="0" eaLnBrk="1" fontAlgn="auto" latinLnBrk="0" hangingPunct="1">
                        <a:lnSpc>
                          <a:spcPct val="100000"/>
                        </a:lnSpc>
                        <a:spcBef>
                          <a:spcPts val="0"/>
                        </a:spcBef>
                        <a:spcAft>
                          <a:spcPts val="0"/>
                        </a:spcAft>
                        <a:buClrTx/>
                        <a:buSzTx/>
                        <a:buFontTx/>
                        <a:buNone/>
                      </a:pPr>
                      <a:r>
                        <a:rPr lang="en-US" sz="2000" b="0" strike="noStrike">
                          <a:solidFill>
                            <a:schemeClr val="tx1"/>
                          </a:solidFill>
                        </a:rPr>
                        <a:t>Council to </a:t>
                      </a:r>
                      <a:r>
                        <a:rPr lang="en-US" sz="2000" b="1" strike="noStrike">
                          <a:solidFill>
                            <a:schemeClr val="tx1"/>
                          </a:solidFill>
                        </a:rPr>
                        <a:t>respond to follow-up survey on data, designations by 3/19/25</a:t>
                      </a:r>
                    </a:p>
                  </a:txBody>
                  <a:tcPr marL="85288" marR="85288"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0129741"/>
                  </a:ext>
                </a:extLst>
              </a:tr>
              <a:tr h="874253">
                <a:tc>
                  <a:txBody>
                    <a:bodyPr/>
                    <a:lstStyle/>
                    <a:p>
                      <a:pPr marL="229870" lvl="0" indent="0" algn="l">
                        <a:lnSpc>
                          <a:spcPct val="100000"/>
                        </a:lnSpc>
                        <a:spcBef>
                          <a:spcPts val="0"/>
                        </a:spcBef>
                        <a:spcAft>
                          <a:spcPts val="0"/>
                        </a:spcAft>
                        <a:buNone/>
                      </a:pPr>
                      <a:r>
                        <a:rPr lang="en-US" sz="2000" b="0" i="0" u="none" strike="noStrike" noProof="0">
                          <a:solidFill>
                            <a:schemeClr val="tx1"/>
                          </a:solidFill>
                          <a:latin typeface="Arial"/>
                        </a:rPr>
                        <a:t>EOHLC to consolidate survey responses, share with Council in advance of next meeting</a:t>
                      </a:r>
                      <a:endParaRPr lang="en-US" sz="2000" b="0"/>
                    </a:p>
                  </a:txBody>
                  <a:tcPr marL="85288" marR="85288"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2713420"/>
                  </a:ext>
                </a:extLst>
              </a:tr>
              <a:tr h="874254">
                <a:tc>
                  <a:txBody>
                    <a:bodyPr/>
                    <a:lstStyle/>
                    <a:p>
                      <a:pPr marL="229870" marR="0" lvl="0" indent="0" algn="l" rtl="0" eaLnBrk="1" fontAlgn="auto" latinLnBrk="0" hangingPunct="1">
                        <a:lnSpc>
                          <a:spcPct val="100000"/>
                        </a:lnSpc>
                        <a:spcBef>
                          <a:spcPts val="0"/>
                        </a:spcBef>
                        <a:spcAft>
                          <a:spcPts val="0"/>
                        </a:spcAft>
                        <a:buClrTx/>
                        <a:buSzTx/>
                        <a:buFontTx/>
                        <a:buNone/>
                      </a:pPr>
                      <a:r>
                        <a:rPr lang="en-US" sz="2000" b="0" strike="noStrike">
                          <a:solidFill>
                            <a:schemeClr val="tx1"/>
                          </a:solidFill>
                        </a:rPr>
                        <a:t>Working groups to form, advise EOHLC on drafting, promulgation of regulations </a:t>
                      </a:r>
                      <a:endParaRPr lang="en-US" b="0"/>
                    </a:p>
                    <a:p>
                      <a:pPr marL="229870" marR="0" lvl="0" indent="0" algn="l">
                        <a:lnSpc>
                          <a:spcPct val="100000"/>
                        </a:lnSpc>
                        <a:spcBef>
                          <a:spcPts val="0"/>
                        </a:spcBef>
                        <a:spcAft>
                          <a:spcPts val="0"/>
                        </a:spcAft>
                        <a:buClrTx/>
                        <a:buSzTx/>
                        <a:buFontTx/>
                        <a:buNone/>
                      </a:pPr>
                      <a:r>
                        <a:rPr lang="en-US" sz="2000" b="0" strike="noStrike">
                          <a:solidFill>
                            <a:schemeClr val="tx1"/>
                          </a:solidFill>
                        </a:rPr>
                        <a:t>(Target: Late September)</a:t>
                      </a:r>
                      <a:endParaRPr lang="en-US" b="0"/>
                    </a:p>
                  </a:txBody>
                  <a:tcPr marL="85288" marR="85288"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4604627"/>
                  </a:ext>
                </a:extLst>
              </a:tr>
              <a:tr h="874254">
                <a:tc>
                  <a:txBody>
                    <a:bodyPr/>
                    <a:lstStyle/>
                    <a:p>
                      <a:pPr marL="229870" lvl="0" indent="0" algn="l">
                        <a:lnSpc>
                          <a:spcPct val="100000"/>
                        </a:lnSpc>
                        <a:spcBef>
                          <a:spcPts val="0"/>
                        </a:spcBef>
                        <a:spcAft>
                          <a:spcPts val="0"/>
                        </a:spcAft>
                        <a:buNone/>
                      </a:pPr>
                      <a:r>
                        <a:rPr lang="en-US" sz="2000" b="0" strike="noStrike">
                          <a:solidFill>
                            <a:schemeClr val="tx1"/>
                          </a:solidFill>
                        </a:rPr>
                        <a:t>EOHLC to hold series of listening sessions </a:t>
                      </a:r>
                      <a:endParaRPr lang="en-US" sz="2000" b="0" strike="sngStrike">
                        <a:solidFill>
                          <a:schemeClr val="tx1"/>
                        </a:solidFill>
                      </a:endParaRPr>
                    </a:p>
                  </a:txBody>
                  <a:tcPr marL="85288" marR="85288"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6640925"/>
                  </a:ext>
                </a:extLst>
              </a:tr>
              <a:tr h="874253">
                <a:tc>
                  <a:txBody>
                    <a:bodyPr/>
                    <a:lstStyle/>
                    <a:p>
                      <a:pPr marL="229870" lvl="0" indent="0" algn="l">
                        <a:lnSpc>
                          <a:spcPct val="100000"/>
                        </a:lnSpc>
                        <a:spcBef>
                          <a:spcPts val="0"/>
                        </a:spcBef>
                        <a:spcAft>
                          <a:spcPts val="0"/>
                        </a:spcAft>
                        <a:buNone/>
                      </a:pPr>
                      <a:r>
                        <a:rPr lang="en-US" sz="2000" b="0" u="none" strike="noStrike">
                          <a:solidFill>
                            <a:schemeClr val="tx1"/>
                          </a:solidFill>
                        </a:rPr>
                        <a:t>Tentative Next Meetings: </a:t>
                      </a:r>
                      <a:r>
                        <a:rPr lang="en-US" sz="2000" b="1" u="none" strike="noStrike">
                          <a:solidFill>
                            <a:schemeClr val="tx1"/>
                          </a:solidFill>
                        </a:rPr>
                        <a:t>May (Cape Cod), September (Nantucket)</a:t>
                      </a:r>
                    </a:p>
                  </a:txBody>
                  <a:tcPr marL="85288" marR="85288"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4719857"/>
                  </a:ext>
                </a:extLst>
              </a:tr>
            </a:tbl>
          </a:graphicData>
        </a:graphic>
      </p:graphicFrame>
    </p:spTree>
    <p:extLst>
      <p:ext uri="{BB962C8B-B14F-4D97-AF65-F5344CB8AC3E}">
        <p14:creationId xmlns:p14="http://schemas.microsoft.com/office/powerpoint/2010/main" val="4189344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09262" y="2881965"/>
            <a:ext cx="8403758" cy="677108"/>
          </a:xfrm>
        </p:spPr>
        <p:txBody>
          <a:bodyPr/>
          <a:lstStyle/>
          <a:p>
            <a:pPr algn="l"/>
            <a:r>
              <a:rPr lang="en-US"/>
              <a:t>Designation Acceptance</a:t>
            </a:r>
            <a:endParaRPr lang="en-US">
              <a:cs typeface="Arial"/>
            </a:endParaRPr>
          </a:p>
        </p:txBody>
      </p:sp>
    </p:spTree>
    <p:extLst>
      <p:ext uri="{BB962C8B-B14F-4D97-AF65-F5344CB8AC3E}">
        <p14:creationId xmlns:p14="http://schemas.microsoft.com/office/powerpoint/2010/main" val="20910345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345A8C6-036C-B7DA-BE86-A7D223790D3F}"/>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t>Designation Acceptance</a:t>
            </a:r>
            <a:endParaRPr lang="en-US"/>
          </a:p>
        </p:txBody>
      </p:sp>
      <p:sp>
        <p:nvSpPr>
          <p:cNvPr id="3" name="Text Placeholder 2">
            <a:extLst>
              <a:ext uri="{FF2B5EF4-FFF2-40B4-BE49-F238E27FC236}">
                <a16:creationId xmlns:a16="http://schemas.microsoft.com/office/drawing/2014/main" id="{61DBD839-C784-C897-BE2C-2C971338278C}"/>
              </a:ext>
            </a:extLst>
          </p:cNvPr>
          <p:cNvSpPr>
            <a:spLocks noGrp="1"/>
          </p:cNvSpPr>
          <p:nvPr>
            <p:ph type="body" sz="quarter" idx="12"/>
          </p:nvPr>
        </p:nvSpPr>
        <p:spPr>
          <a:xfrm>
            <a:off x="554037" y="1388519"/>
            <a:ext cx="11082528" cy="3801041"/>
          </a:xfrm>
        </p:spPr>
        <p:txBody>
          <a:bodyPr vert="horz" wrap="square" lIns="0" tIns="0" rIns="0" bIns="0" rtlCol="0" anchor="t">
            <a:spAutoFit/>
          </a:bodyPr>
          <a:lstStyle/>
          <a:p>
            <a:r>
              <a:rPr lang="en-US" sz="2400" i="0">
                <a:latin typeface="Aptos"/>
                <a:cs typeface="Arial"/>
              </a:rPr>
              <a:t>Determination: All municipalities designated as a Seasonal Community must locally vote to accept or deny their designation</a:t>
            </a:r>
            <a:endParaRPr lang="en-US" sz="2400" i="0">
              <a:solidFill>
                <a:srgbClr val="000000"/>
              </a:solidFill>
              <a:latin typeface="Aptos"/>
              <a:cs typeface="Arial"/>
            </a:endParaRPr>
          </a:p>
          <a:p>
            <a:pPr marL="342900" indent="-342900">
              <a:buFont typeface="Arial,Sans-Serif"/>
              <a:buChar char="•"/>
            </a:pPr>
            <a:r>
              <a:rPr lang="en-US" b="0" i="0">
                <a:latin typeface="Aptos"/>
                <a:cs typeface="Arial"/>
              </a:rPr>
              <a:t>Votes may be held in any manner consistent with the laws of the Commonwealth and the designated municipality's charter</a:t>
            </a:r>
            <a:endParaRPr lang="en-US"/>
          </a:p>
          <a:p>
            <a:pPr marL="342900" indent="-342900">
              <a:buFont typeface="Arial,Sans-Serif"/>
              <a:buChar char="•"/>
            </a:pPr>
            <a:endParaRPr lang="en-US" b="0" i="0">
              <a:latin typeface="Aptos"/>
              <a:cs typeface="Arial"/>
            </a:endParaRPr>
          </a:p>
          <a:p>
            <a:r>
              <a:rPr lang="en-US" sz="2400" i="0">
                <a:latin typeface="Aptos"/>
                <a:cs typeface="Arial"/>
              </a:rPr>
              <a:t>Key Statutory Text: </a:t>
            </a:r>
            <a:endParaRPr lang="en-US" sz="2400" b="0" i="0">
              <a:latin typeface="Aptos"/>
            </a:endParaRPr>
          </a:p>
          <a:p>
            <a:r>
              <a:rPr lang="en-US" sz="2400" b="0" i="0">
                <a:latin typeface="Aptos"/>
                <a:cs typeface="Arial"/>
              </a:rPr>
              <a:t>"A municipality designated by the executive office as a seasonal community pursuant to this section </a:t>
            </a:r>
            <a:r>
              <a:rPr lang="en-US" sz="2400" b="0" i="0" u="sng">
                <a:latin typeface="Aptos"/>
                <a:cs typeface="Arial"/>
              </a:rPr>
              <a:t>shall accept or deny the designation by vote of its legislative body</a:t>
            </a:r>
            <a:r>
              <a:rPr lang="en-US" sz="2400" b="0" i="0">
                <a:latin typeface="Aptos"/>
                <a:cs typeface="Arial"/>
              </a:rPr>
              <a:t>"</a:t>
            </a:r>
            <a:endParaRPr lang="en-US" sz="2400" b="0" i="0">
              <a:latin typeface="Aptos"/>
            </a:endParaRPr>
          </a:p>
          <a:p>
            <a:endParaRPr lang="en-US" sz="2400" i="0">
              <a:latin typeface="Aptos"/>
            </a:endParaRPr>
          </a:p>
        </p:txBody>
      </p:sp>
      <p:sp>
        <p:nvSpPr>
          <p:cNvPr id="2" name="TextBox 1">
            <a:extLst>
              <a:ext uri="{FF2B5EF4-FFF2-40B4-BE49-F238E27FC236}">
                <a16:creationId xmlns:a16="http://schemas.microsoft.com/office/drawing/2014/main" id="{43F18EC5-9759-7D09-3C52-2B13C9DEDFB5}"/>
              </a:ext>
            </a:extLst>
          </p:cNvPr>
          <p:cNvSpPr txBox="1"/>
          <p:nvPr/>
        </p:nvSpPr>
        <p:spPr>
          <a:xfrm>
            <a:off x="552450" y="5267325"/>
            <a:ext cx="6096000" cy="124649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600" b="1">
                <a:solidFill>
                  <a:srgbClr val="14558F"/>
                </a:solidFill>
                <a:latin typeface="Aptos"/>
              </a:rPr>
              <a:t>Source:</a:t>
            </a:r>
            <a:r>
              <a:rPr lang="en-US" sz="1600">
                <a:solidFill>
                  <a:srgbClr val="14558F"/>
                </a:solidFill>
                <a:latin typeface="Aptos"/>
              </a:rPr>
              <a:t> </a:t>
            </a:r>
            <a:r>
              <a:rPr lang="en-US" sz="1600">
                <a:solidFill>
                  <a:srgbClr val="14558F"/>
                </a:solidFill>
                <a:latin typeface="Aptos"/>
                <a:cs typeface="Segoe UI"/>
                <a:hlinkClick r:id="rId4"/>
              </a:rPr>
              <a:t>MGL c. 23B, s. 32 (PDF)</a:t>
            </a:r>
            <a:endParaRPr lang="en-US" sz="1600">
              <a:solidFill>
                <a:srgbClr val="14558F"/>
              </a:solidFill>
              <a:latin typeface="Aptos"/>
            </a:endParaRPr>
          </a:p>
          <a:p>
            <a:pPr lvl="1">
              <a:spcBef>
                <a:spcPts val="300"/>
              </a:spcBef>
              <a:spcAft>
                <a:spcPts val="300"/>
              </a:spcAft>
            </a:pPr>
            <a:r>
              <a:rPr lang="en-US" sz="1600">
                <a:solidFill>
                  <a:srgbClr val="14558F"/>
                </a:solidFill>
                <a:latin typeface="Aptos"/>
              </a:rPr>
              <a:t>       </a:t>
            </a:r>
            <a:r>
              <a:rPr lang="en-US" sz="1600">
                <a:solidFill>
                  <a:srgbClr val="14558F"/>
                </a:solidFill>
                <a:latin typeface="Aptos"/>
                <a:hlinkClick r:id="rId5"/>
              </a:rPr>
              <a:t>MGL c. 23B, s. 32 (HTML)</a:t>
            </a:r>
          </a:p>
          <a:p>
            <a:pPr>
              <a:spcBef>
                <a:spcPts val="300"/>
              </a:spcBef>
              <a:spcAft>
                <a:spcPts val="300"/>
              </a:spcAft>
            </a:pPr>
            <a:endParaRPr lang="en-US" sz="1600">
              <a:solidFill>
                <a:srgbClr val="14558F"/>
              </a:solidFill>
              <a:latin typeface="Aptos"/>
              <a:cs typeface="Arial"/>
            </a:endParaRPr>
          </a:p>
          <a:p>
            <a:pPr>
              <a:spcBef>
                <a:spcPts val="300"/>
              </a:spcBef>
              <a:spcAft>
                <a:spcPts val="300"/>
              </a:spcAft>
            </a:pPr>
            <a:endParaRPr lang="en-US">
              <a:solidFill>
                <a:srgbClr val="14558F"/>
              </a:solidFill>
              <a:latin typeface="Arial"/>
              <a:cs typeface="Arial"/>
            </a:endParaRPr>
          </a:p>
        </p:txBody>
      </p:sp>
    </p:spTree>
    <p:extLst>
      <p:ext uri="{BB962C8B-B14F-4D97-AF65-F5344CB8AC3E}">
        <p14:creationId xmlns:p14="http://schemas.microsoft.com/office/powerpoint/2010/main" val="3009510117"/>
      </p:ext>
    </p:extLst>
  </p:cSld>
  <p:clrMapOvr>
    <a:masterClrMapping/>
  </p:clrMapOvr>
  <p:extLst>
    <p:ext uri="{6950BFC3-D8DA-4A85-94F7-54DA5524770B}">
      <p188:commentRel xmlns:p188="http://schemas.microsoft.com/office/powerpoint/2018/8/main" r:id="rId3"/>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A67B3F-3A86-6D2C-81B7-EAA5F61F2E6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C2BF33B-7E5E-31B0-0829-41ADDAFC21A7}"/>
              </a:ext>
            </a:extLst>
          </p:cNvPr>
          <p:cNvSpPr>
            <a:spLocks noGrp="1"/>
          </p:cNvSpPr>
          <p:nvPr>
            <p:ph type="title"/>
          </p:nvPr>
        </p:nvSpPr>
        <p:spPr>
          <a:xfrm>
            <a:off x="2862179" y="2853741"/>
            <a:ext cx="8181508" cy="677108"/>
          </a:xfrm>
        </p:spPr>
        <p:txBody>
          <a:bodyPr/>
          <a:lstStyle/>
          <a:p>
            <a:pPr algn="l"/>
            <a:r>
              <a:rPr lang="en-US"/>
              <a:t>Statutory Metrics Data Review</a:t>
            </a:r>
            <a:endParaRPr lang="en-US">
              <a:cs typeface="Arial"/>
            </a:endParaRPr>
          </a:p>
        </p:txBody>
      </p:sp>
    </p:spTree>
    <p:extLst>
      <p:ext uri="{BB962C8B-B14F-4D97-AF65-F5344CB8AC3E}">
        <p14:creationId xmlns:p14="http://schemas.microsoft.com/office/powerpoint/2010/main" val="25669367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8B1DDF-04C3-ED54-7C56-F41D40D787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5DA31B-6B6F-F9CA-61BC-B9E1CD7E6F34}"/>
              </a:ext>
            </a:extLst>
          </p:cNvPr>
          <p:cNvSpPr>
            <a:spLocks noGrp="1"/>
          </p:cNvSpPr>
          <p:nvPr>
            <p:ph type="title"/>
          </p:nvPr>
        </p:nvSpPr>
        <p:spPr/>
        <p:txBody>
          <a:bodyPr/>
          <a:lstStyle/>
          <a:p>
            <a:r>
              <a:rPr lang="en-US" sz="2800"/>
              <a:t>Criteria for designating additional Seasonal Communities</a:t>
            </a:r>
          </a:p>
        </p:txBody>
      </p:sp>
      <p:sp>
        <p:nvSpPr>
          <p:cNvPr id="3" name="Text Placeholder 2">
            <a:extLst>
              <a:ext uri="{FF2B5EF4-FFF2-40B4-BE49-F238E27FC236}">
                <a16:creationId xmlns:a16="http://schemas.microsoft.com/office/drawing/2014/main" id="{BE195DF3-1A49-013A-39FB-ED0695D44F69}"/>
              </a:ext>
            </a:extLst>
          </p:cNvPr>
          <p:cNvSpPr>
            <a:spLocks noGrp="1"/>
          </p:cNvSpPr>
          <p:nvPr>
            <p:ph type="body" sz="quarter" idx="12"/>
          </p:nvPr>
        </p:nvSpPr>
        <p:spPr>
          <a:xfrm>
            <a:off x="554036" y="1449679"/>
            <a:ext cx="11356023" cy="4816703"/>
          </a:xfrm>
        </p:spPr>
        <p:txBody>
          <a:bodyPr vert="horz" wrap="square" lIns="0" tIns="0" rIns="0" bIns="0" rtlCol="0" anchor="t">
            <a:spAutoFit/>
          </a:bodyPr>
          <a:lstStyle/>
          <a:p>
            <a:r>
              <a:rPr lang="en-US" sz="2400" b="0" i="0" dirty="0">
                <a:solidFill>
                  <a:schemeClr val="tx1"/>
                </a:solidFill>
                <a:cs typeface="Arial"/>
              </a:rPr>
              <a:t>“The executive office may designate additional municipalities as seasonal communities based on consideration of the following factors: </a:t>
            </a:r>
          </a:p>
          <a:p>
            <a:pPr marL="514350" indent="-514350"/>
            <a:r>
              <a:rPr lang="en-US" sz="2400" b="0" i="0" dirty="0">
                <a:solidFill>
                  <a:schemeClr val="tx1"/>
                </a:solidFill>
                <a:cs typeface="Arial"/>
              </a:rPr>
              <a:t>(</a:t>
            </a:r>
            <a:r>
              <a:rPr lang="en-US" sz="2400" b="0" i="0" dirty="0" err="1">
                <a:solidFill>
                  <a:schemeClr val="tx1"/>
                </a:solidFill>
                <a:cs typeface="Arial"/>
              </a:rPr>
              <a:t>i</a:t>
            </a:r>
            <a:r>
              <a:rPr lang="en-US" sz="2400" b="0" i="0" dirty="0">
                <a:solidFill>
                  <a:schemeClr val="tx1"/>
                </a:solidFill>
                <a:cs typeface="Arial"/>
              </a:rPr>
              <a:t>)	a high rate of short-term rentals in relation to the overall housing inventory; </a:t>
            </a:r>
          </a:p>
          <a:p>
            <a:pPr marL="514350" indent="-514350"/>
            <a:r>
              <a:rPr lang="en-US" sz="2400" b="0" i="0" dirty="0">
                <a:solidFill>
                  <a:schemeClr val="tx1"/>
                </a:solidFill>
                <a:cs typeface="Arial"/>
              </a:rPr>
              <a:t>(ii)	a significant population increase in seasonal visitors;*</a:t>
            </a:r>
            <a:endParaRPr lang="en-US" sz="2400" b="0" i="0" dirty="0">
              <a:solidFill>
                <a:schemeClr val="tx1"/>
              </a:solidFill>
            </a:endParaRPr>
          </a:p>
          <a:p>
            <a:pPr marL="514350" indent="-514350"/>
            <a:r>
              <a:rPr lang="en-US" sz="2400" b="0" i="0" dirty="0">
                <a:solidFill>
                  <a:schemeClr val="tx1"/>
                </a:solidFill>
                <a:cs typeface="Arial"/>
              </a:rPr>
              <a:t>(iii)	an excessive disparity between the area median income and the income required to purchase the municipality’s median home price; </a:t>
            </a:r>
          </a:p>
          <a:p>
            <a:pPr marL="514350" indent="-514350"/>
            <a:r>
              <a:rPr lang="en-US" sz="2400" b="0" i="0" dirty="0">
                <a:solidFill>
                  <a:schemeClr val="tx1"/>
                </a:solidFill>
                <a:cs typeface="Arial"/>
              </a:rPr>
              <a:t>(iv)	the percentage of housing stock that is used for seasonal, occasional or recreational use or is otherwise not used as a primary residence by the property’s owner; and </a:t>
            </a:r>
          </a:p>
          <a:p>
            <a:pPr marL="514350" indent="-514350"/>
            <a:r>
              <a:rPr lang="en-US" sz="2400" b="0" i="0" dirty="0">
                <a:solidFill>
                  <a:schemeClr val="tx1"/>
                </a:solidFill>
                <a:cs typeface="Arial"/>
              </a:rPr>
              <a:t>(v)	high variations in the average monthly variation of employment in the sector over the full year, in relation to the municipality’s minimum employment threshold.”</a:t>
            </a:r>
          </a:p>
        </p:txBody>
      </p:sp>
      <p:sp>
        <p:nvSpPr>
          <p:cNvPr id="5" name="TextBox 4">
            <a:extLst>
              <a:ext uri="{FF2B5EF4-FFF2-40B4-BE49-F238E27FC236}">
                <a16:creationId xmlns:a16="http://schemas.microsoft.com/office/drawing/2014/main" id="{8E0D1143-6860-E437-4582-31381FF25C17}"/>
              </a:ext>
            </a:extLst>
          </p:cNvPr>
          <p:cNvSpPr txBox="1"/>
          <p:nvPr/>
        </p:nvSpPr>
        <p:spPr>
          <a:xfrm>
            <a:off x="8984317" y="6258477"/>
            <a:ext cx="3174867" cy="511628"/>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dirty="0">
                <a:solidFill>
                  <a:schemeClr val="tx1">
                    <a:lumMod val="75000"/>
                    <a:lumOff val="25000"/>
                  </a:schemeClr>
                </a:solidFill>
              </a:rPr>
              <a:t>*Further analysis required; data not included in these materials</a:t>
            </a:r>
          </a:p>
        </p:txBody>
      </p:sp>
    </p:spTree>
    <p:extLst>
      <p:ext uri="{BB962C8B-B14F-4D97-AF65-F5344CB8AC3E}">
        <p14:creationId xmlns:p14="http://schemas.microsoft.com/office/powerpoint/2010/main" val="41934083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247588-E6DF-6285-AF71-22BB9FB59737}"/>
              </a:ext>
            </a:extLst>
          </p:cNvPr>
          <p:cNvSpPr>
            <a:spLocks noGrp="1"/>
          </p:cNvSpPr>
          <p:nvPr>
            <p:ph type="title"/>
          </p:nvPr>
        </p:nvSpPr>
        <p:spPr/>
        <p:txBody>
          <a:bodyPr/>
          <a:lstStyle/>
          <a:p>
            <a:r>
              <a:rPr lang="en-US" sz="2800"/>
              <a:t>I) Short-Term Rentals</a:t>
            </a:r>
          </a:p>
        </p:txBody>
      </p:sp>
      <p:sp>
        <p:nvSpPr>
          <p:cNvPr id="3" name="Text Placeholder 2">
            <a:extLst>
              <a:ext uri="{FF2B5EF4-FFF2-40B4-BE49-F238E27FC236}">
                <a16:creationId xmlns:a16="http://schemas.microsoft.com/office/drawing/2014/main" id="{BDC10AB6-E583-B2B3-8F41-4E31BB872E83}"/>
              </a:ext>
            </a:extLst>
          </p:cNvPr>
          <p:cNvSpPr>
            <a:spLocks noGrp="1"/>
          </p:cNvSpPr>
          <p:nvPr>
            <p:ph type="body" sz="quarter" idx="12"/>
          </p:nvPr>
        </p:nvSpPr>
        <p:spPr>
          <a:xfrm>
            <a:off x="554037" y="1101337"/>
            <a:ext cx="11082528" cy="5770811"/>
          </a:xfrm>
        </p:spPr>
        <p:txBody>
          <a:bodyPr/>
          <a:lstStyle/>
          <a:p>
            <a:pPr>
              <a:spcBef>
                <a:spcPts val="0"/>
              </a:spcBef>
              <a:spcAft>
                <a:spcPts val="1200"/>
              </a:spcAft>
            </a:pPr>
            <a:r>
              <a:rPr lang="en-US" sz="2000" b="0" i="0">
                <a:solidFill>
                  <a:schemeClr val="tx1"/>
                </a:solidFill>
                <a:effectLst/>
                <a:latin typeface="Aptos" panose="020B0004020202020204" pitchFamily="34" charset="0"/>
              </a:rPr>
              <a:t>There are 43,401 short term rentals (STRs) registered with the Massachusetts Department of Revenue as of July 2024. Six towns have no registered short-term rentals. </a:t>
            </a:r>
          </a:p>
          <a:p>
            <a:pPr>
              <a:spcBef>
                <a:spcPts val="0"/>
              </a:spcBef>
              <a:spcAft>
                <a:spcPts val="600"/>
              </a:spcAft>
            </a:pPr>
            <a:r>
              <a:rPr lang="en-US" sz="2000" b="0" i="0">
                <a:solidFill>
                  <a:schemeClr val="tx1"/>
                </a:solidFill>
                <a:effectLst/>
                <a:latin typeface="Aptos" panose="020B0004020202020204" pitchFamily="34" charset="0"/>
              </a:rPr>
              <a:t>UMass Donahue Institute collected data from the MA DOR and </a:t>
            </a:r>
            <a:r>
              <a:rPr lang="en-US" sz="2000" b="0">
                <a:solidFill>
                  <a:schemeClr val="tx1"/>
                </a:solidFill>
                <a:effectLst/>
                <a:latin typeface="Aptos" panose="020B0004020202020204" pitchFamily="34" charset="0"/>
              </a:rPr>
              <a:t>excluded </a:t>
            </a:r>
            <a:r>
              <a:rPr lang="en-US" sz="2000" b="0" i="0">
                <a:solidFill>
                  <a:schemeClr val="tx1"/>
                </a:solidFill>
                <a:effectLst/>
                <a:latin typeface="Aptos" panose="020B0004020202020204" pitchFamily="34" charset="0"/>
              </a:rPr>
              <a:t>the following </a:t>
            </a:r>
            <a:br>
              <a:rPr lang="en-US" sz="2000" b="0" i="0">
                <a:solidFill>
                  <a:schemeClr val="tx1"/>
                </a:solidFill>
                <a:effectLst/>
                <a:latin typeface="Aptos" panose="020B0004020202020204" pitchFamily="34" charset="0"/>
              </a:rPr>
            </a:br>
            <a:r>
              <a:rPr lang="en-US" sz="2000" b="0" i="0">
                <a:solidFill>
                  <a:schemeClr val="tx1"/>
                </a:solidFill>
                <a:effectLst/>
                <a:latin typeface="Aptos" panose="020B0004020202020204" pitchFamily="34" charset="0"/>
              </a:rPr>
              <a:t>registered STRs: </a:t>
            </a:r>
          </a:p>
          <a:p>
            <a:pPr marL="742950" lvl="1" indent="-285750">
              <a:spcAft>
                <a:spcPts val="600"/>
              </a:spcAft>
              <a:buClr>
                <a:schemeClr val="tx1"/>
              </a:buClr>
              <a:buFont typeface="Arial" panose="020B0604020202020204" pitchFamily="34" charset="0"/>
              <a:buChar char="•"/>
            </a:pPr>
            <a:r>
              <a:rPr lang="en-US" sz="2000" b="0" i="0">
                <a:solidFill>
                  <a:schemeClr val="tx1"/>
                </a:solidFill>
                <a:latin typeface="Aptos" panose="020B0004020202020204" pitchFamily="34" charset="0"/>
              </a:rPr>
              <a:t>Units that are “rooms” or “suites”, rather than an entire dwelling units</a:t>
            </a:r>
          </a:p>
          <a:p>
            <a:pPr marL="742950" lvl="1" indent="-285750">
              <a:spcAft>
                <a:spcPts val="600"/>
              </a:spcAft>
              <a:buClr>
                <a:schemeClr val="tx1"/>
              </a:buClr>
              <a:buFont typeface="Arial" panose="020B0604020202020204" pitchFamily="34" charset="0"/>
              <a:buChar char="•"/>
            </a:pPr>
            <a:r>
              <a:rPr lang="en-US" sz="2000" b="0" i="0">
                <a:solidFill>
                  <a:schemeClr val="tx1"/>
                </a:solidFill>
                <a:latin typeface="Aptos" panose="020B0004020202020204" pitchFamily="34" charset="0"/>
              </a:rPr>
              <a:t>Units occupied by guests for 14 days or less each year (these are exempt from the lodging tax) </a:t>
            </a:r>
          </a:p>
          <a:p>
            <a:pPr marL="742950" lvl="1" indent="-285750">
              <a:spcAft>
                <a:spcPts val="1200"/>
              </a:spcAft>
              <a:buClr>
                <a:schemeClr val="tx1"/>
              </a:buClr>
              <a:buFont typeface="Arial" panose="020B0604020202020204" pitchFamily="34" charset="0"/>
              <a:buChar char="•"/>
            </a:pPr>
            <a:r>
              <a:rPr lang="en-US" sz="2000" b="0" i="0">
                <a:solidFill>
                  <a:schemeClr val="tx1"/>
                </a:solidFill>
                <a:latin typeface="Aptos" panose="020B0004020202020204" pitchFamily="34" charset="0"/>
              </a:rPr>
              <a:t>Owner-occupied units</a:t>
            </a:r>
          </a:p>
          <a:p>
            <a:pPr>
              <a:spcBef>
                <a:spcPts val="0"/>
              </a:spcBef>
              <a:spcAft>
                <a:spcPts val="1200"/>
              </a:spcAft>
            </a:pPr>
            <a:r>
              <a:rPr lang="en-US" sz="2000" i="0">
                <a:solidFill>
                  <a:schemeClr val="tx1"/>
                </a:solidFill>
                <a:latin typeface="Aptos" panose="020B0004020202020204" pitchFamily="34" charset="0"/>
              </a:rPr>
              <a:t>There are 34,000 “primary” short-term rentals: complete units that are not owner-occupied and that are rented for 15 days or more each years.</a:t>
            </a:r>
            <a:r>
              <a:rPr lang="en-US" sz="2000" b="0" i="0">
                <a:solidFill>
                  <a:schemeClr val="tx1"/>
                </a:solidFill>
                <a:latin typeface="Aptos" panose="020B0004020202020204" pitchFamily="34" charset="0"/>
              </a:rPr>
              <a:t> This is </a:t>
            </a:r>
            <a:r>
              <a:rPr lang="en-US" sz="2000" b="0" i="0">
                <a:solidFill>
                  <a:schemeClr val="tx1"/>
                </a:solidFill>
                <a:effectLst/>
                <a:latin typeface="Aptos" panose="020B0004020202020204" pitchFamily="34" charset="0"/>
              </a:rPr>
              <a:t>78 percent of all registered STRs, and 1.1% percent of the state’s housing stock (</a:t>
            </a:r>
            <a:r>
              <a:rPr lang="en-US" sz="2000" b="0" i="0">
                <a:solidFill>
                  <a:schemeClr val="tx1"/>
                </a:solidFill>
                <a:latin typeface="Aptos" panose="020B0004020202020204" pitchFamily="34" charset="0"/>
              </a:rPr>
              <a:t>2018 – 2022 ACS). </a:t>
            </a:r>
          </a:p>
          <a:p>
            <a:pPr>
              <a:spcBef>
                <a:spcPts val="0"/>
              </a:spcBef>
              <a:spcAft>
                <a:spcPts val="1200"/>
              </a:spcAft>
            </a:pPr>
            <a:r>
              <a:rPr lang="en-US" sz="2000" b="0" i="0">
                <a:solidFill>
                  <a:schemeClr val="tx1"/>
                </a:solidFill>
                <a:latin typeface="Aptos" panose="020B0004020202020204" pitchFamily="34" charset="0"/>
              </a:rPr>
              <a:t>Half of all primary STRs are in Barnstable County despite having only 6 percent of the state’s housing units. 10 percent of the county’s housing stock is a full-time STR. </a:t>
            </a:r>
          </a:p>
          <a:p>
            <a:pPr>
              <a:spcBef>
                <a:spcPts val="0"/>
              </a:spcBef>
              <a:spcAft>
                <a:spcPts val="1200"/>
              </a:spcAft>
            </a:pPr>
            <a:r>
              <a:rPr lang="en-US" sz="2000" b="0" i="0">
                <a:solidFill>
                  <a:schemeClr val="tx1"/>
                </a:solidFill>
                <a:latin typeface="Aptos" panose="020B0004020202020204" pitchFamily="34" charset="0"/>
              </a:rPr>
              <a:t>Over 20% of homes on Martha’s Vineyard and Nantucket are registered as a primary STR. </a:t>
            </a:r>
          </a:p>
          <a:p>
            <a:pPr>
              <a:spcBef>
                <a:spcPts val="0"/>
              </a:spcBef>
              <a:spcAft>
                <a:spcPts val="1200"/>
              </a:spcAft>
            </a:pPr>
            <a:r>
              <a:rPr lang="en-US" sz="2000" b="0" i="0">
                <a:solidFill>
                  <a:schemeClr val="tx1"/>
                </a:solidFill>
                <a:latin typeface="Aptos" panose="020B0004020202020204" pitchFamily="34" charset="0"/>
              </a:rPr>
              <a:t>Primary STRs in Berkshire County take up 2.6% of the housing stock county-wide. </a:t>
            </a:r>
          </a:p>
          <a:p>
            <a:pPr>
              <a:spcBef>
                <a:spcPts val="0"/>
              </a:spcBef>
              <a:spcAft>
                <a:spcPts val="1200"/>
              </a:spcAft>
            </a:pPr>
            <a:endParaRPr lang="en-US" sz="2000" b="0" i="0">
              <a:solidFill>
                <a:schemeClr val="tx1"/>
              </a:solidFill>
            </a:endParaRPr>
          </a:p>
        </p:txBody>
      </p:sp>
    </p:spTree>
    <p:extLst>
      <p:ext uri="{BB962C8B-B14F-4D97-AF65-F5344CB8AC3E}">
        <p14:creationId xmlns:p14="http://schemas.microsoft.com/office/powerpoint/2010/main" val="40137891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714F61-82D4-68D1-271B-AA99571B6B9D}"/>
              </a:ext>
            </a:extLst>
          </p:cNvPr>
          <p:cNvSpPr>
            <a:spLocks noGrp="1"/>
          </p:cNvSpPr>
          <p:nvPr>
            <p:ph type="title"/>
          </p:nvPr>
        </p:nvSpPr>
        <p:spPr/>
        <p:txBody>
          <a:bodyPr/>
          <a:lstStyle/>
          <a:p>
            <a:r>
              <a:rPr lang="en-US" sz="2800"/>
              <a:t>I) Short Term Rentals, by region</a:t>
            </a:r>
          </a:p>
        </p:txBody>
      </p:sp>
      <p:graphicFrame>
        <p:nvGraphicFramePr>
          <p:cNvPr id="5" name="Chart 4">
            <a:extLst>
              <a:ext uri="{FF2B5EF4-FFF2-40B4-BE49-F238E27FC236}">
                <a16:creationId xmlns:a16="http://schemas.microsoft.com/office/drawing/2014/main" id="{862867EF-0B9A-5CFD-F597-4D4A50438AA4}"/>
              </a:ext>
            </a:extLst>
          </p:cNvPr>
          <p:cNvGraphicFramePr>
            <a:graphicFrameLocks/>
          </p:cNvGraphicFramePr>
          <p:nvPr>
            <p:extLst>
              <p:ext uri="{D42A27DB-BD31-4B8C-83A1-F6EECF244321}">
                <p14:modId xmlns:p14="http://schemas.microsoft.com/office/powerpoint/2010/main" val="2499672093"/>
              </p:ext>
            </p:extLst>
          </p:nvPr>
        </p:nvGraphicFramePr>
        <p:xfrm>
          <a:off x="1676400" y="1162742"/>
          <a:ext cx="8940800" cy="541585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515826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6169C3-3D5B-64BA-39DE-AA3A2904E4A0}"/>
            </a:ext>
          </a:extLst>
        </p:cNvPr>
        <p:cNvGrpSpPr/>
        <p:nvPr/>
      </p:nvGrpSpPr>
      <p:grpSpPr>
        <a:xfrm>
          <a:off x="0" y="0"/>
          <a:ext cx="0" cy="0"/>
          <a:chOff x="0" y="0"/>
          <a:chExt cx="0" cy="0"/>
        </a:xfrm>
      </p:grpSpPr>
      <p:sp>
        <p:nvSpPr>
          <p:cNvPr id="13" name="Title 1">
            <a:extLst>
              <a:ext uri="{FF2B5EF4-FFF2-40B4-BE49-F238E27FC236}">
                <a16:creationId xmlns:a16="http://schemas.microsoft.com/office/drawing/2014/main" id="{612F7973-E5DD-6C07-9A5C-776052CB1DB1}"/>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solidFill>
                  <a:srgbClr val="F2F2F2"/>
                </a:solidFill>
              </a:rPr>
              <a:t>I) Short term rentals</a:t>
            </a:r>
            <a:endParaRPr lang="en-US"/>
          </a:p>
        </p:txBody>
      </p:sp>
      <p:pic>
        <p:nvPicPr>
          <p:cNvPr id="8" name="Picture 7" descr="Map&#10;&#10;AI-generated content may be incorrect.">
            <a:extLst>
              <a:ext uri="{FF2B5EF4-FFF2-40B4-BE49-F238E27FC236}">
                <a16:creationId xmlns:a16="http://schemas.microsoft.com/office/drawing/2014/main" id="{891D0CB0-EE5B-4671-BFF8-83600CE545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8014" y="1041159"/>
            <a:ext cx="9535971" cy="5728230"/>
          </a:xfrm>
          <a:prstGeom prst="rect">
            <a:avLst/>
          </a:prstGeom>
        </p:spPr>
      </p:pic>
    </p:spTree>
    <p:extLst>
      <p:ext uri="{BB962C8B-B14F-4D97-AF65-F5344CB8AC3E}">
        <p14:creationId xmlns:p14="http://schemas.microsoft.com/office/powerpoint/2010/main" val="16477545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517B14D604B3B48B5D202D444E0E01D" ma:contentTypeVersion="12" ma:contentTypeDescription="Create a new document." ma:contentTypeScope="" ma:versionID="9f0e071d3f3d1ed91323eec309a5aec1">
  <xsd:schema xmlns:xsd="http://www.w3.org/2001/XMLSchema" xmlns:xs="http://www.w3.org/2001/XMLSchema" xmlns:p="http://schemas.microsoft.com/office/2006/metadata/properties" xmlns:ns2="00f635cb-58c7-4c7c-a2be-5f3d12299da6" xmlns:ns3="dc119905-464d-4721-bcb1-84ed6b26f144" targetNamespace="http://schemas.microsoft.com/office/2006/metadata/properties" ma:root="true" ma:fieldsID="f899fb4bd9a6fc178a7b64ac3985bfaa" ns2:_="" ns3:_="">
    <xsd:import namespace="00f635cb-58c7-4c7c-a2be-5f3d12299da6"/>
    <xsd:import namespace="dc119905-464d-4721-bcb1-84ed6b26f14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f635cb-58c7-4c7c-a2be-5f3d12299d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c119905-464d-4721-bcb1-84ed6b26f1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2721042-d6a3-44fb-989f-696d1307e643}" ma:internalName="TaxCatchAll" ma:showField="CatchAllData" ma:web="dc119905-464d-4721-bcb1-84ed6b26f1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dc119905-464d-4721-bcb1-84ed6b26f144" xsi:nil="true"/>
    <lcf76f155ced4ddcb4097134ff3c332f xmlns="00f635cb-58c7-4c7c-a2be-5f3d12299da6">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23C8FED-CEB0-4D0B-AD68-8E940203FB53}">
  <ds:schemaRefs>
    <ds:schemaRef ds:uri="00f635cb-58c7-4c7c-a2be-5f3d12299da6"/>
    <ds:schemaRef ds:uri="dc119905-464d-4721-bcb1-84ed6b26f14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E111BB3-6091-45DD-8E22-425CEAE2FC56}">
  <ds:schemaRefs>
    <ds:schemaRef ds:uri="00f635cb-58c7-4c7c-a2be-5f3d12299da6"/>
    <ds:schemaRef ds:uri="dc119905-464d-4721-bcb1-84ed6b26f14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9879CA0-DAEF-4A32-952C-8A46A48293F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27</Slides>
  <Notes>25</Notes>
  <HiddenSlides>0</HiddenSlides>
  <ScaleCrop>false</ScaleCrop>
  <HeadingPairs>
    <vt:vector size="4" baseType="variant">
      <vt:variant>
        <vt:lpstr>Theme</vt:lpstr>
      </vt:variant>
      <vt:variant>
        <vt:i4>1</vt:i4>
      </vt:variant>
      <vt:variant>
        <vt:lpstr>Slide Titles</vt:lpstr>
      </vt:variant>
      <vt:variant>
        <vt:i4>27</vt:i4>
      </vt:variant>
    </vt:vector>
  </HeadingPairs>
  <TitlesOfParts>
    <vt:vector size="28" baseType="lpstr">
      <vt:lpstr>White</vt:lpstr>
      <vt:lpstr>Seasonal Communities Advisory Council  Funding, Data &amp; Designations</vt:lpstr>
      <vt:lpstr>Agenda</vt:lpstr>
      <vt:lpstr>Designation Acceptance</vt:lpstr>
      <vt:lpstr>PowerPoint Presentation</vt:lpstr>
      <vt:lpstr>Statutory Metrics Data Review</vt:lpstr>
      <vt:lpstr>Criteria for designating additional Seasonal Communities</vt:lpstr>
      <vt:lpstr>I) Short-Term Rentals</vt:lpstr>
      <vt:lpstr>I) Short Term Rentals, by region</vt:lpstr>
      <vt:lpstr>PowerPoint Presentation</vt:lpstr>
      <vt:lpstr>III) Disparity between the area median income and the income required to purchase the municipality’s median-priced home</vt:lpstr>
      <vt:lpstr>III) Disparity between the area median income and the income required to purchase the municipality’s median-priced home</vt:lpstr>
      <vt:lpstr>III) Income required to purchase the municipality’s median-priced home</vt:lpstr>
      <vt:lpstr>III) Disparity between the area median income and the income required to purchase the municipality’s median-priced home</vt:lpstr>
      <vt:lpstr>IV) Percentage of homes used for seasonal, occasional or recreational use</vt:lpstr>
      <vt:lpstr>PowerPoint Presentation</vt:lpstr>
      <vt:lpstr>V) High variations in employment over the full year</vt:lpstr>
      <vt:lpstr>PowerPoint Presentation</vt:lpstr>
      <vt:lpstr>PowerPoint Presentation</vt:lpstr>
      <vt:lpstr>Further Designations</vt:lpstr>
      <vt:lpstr>Process for Designation</vt:lpstr>
      <vt:lpstr>Working Groups</vt:lpstr>
      <vt:lpstr>Why Working Groups?</vt:lpstr>
      <vt:lpstr>Working Group Formation (I/II)</vt:lpstr>
      <vt:lpstr>Working Group Formation (II/II)</vt:lpstr>
      <vt:lpstr>Timeline &amp; Next Steps</vt:lpstr>
      <vt:lpstr>Timeline</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F Template</dc:title>
  <dc:creator>Bryant, Benjamin (EOHLC)</dc:creator>
  <cp:revision>14</cp:revision>
  <cp:lastPrinted>2025-03-06T23:17:35Z</cp:lastPrinted>
  <dcterms:created xsi:type="dcterms:W3CDTF">2021-09-26T22:27:24Z</dcterms:created>
  <dcterms:modified xsi:type="dcterms:W3CDTF">2025-03-13T18:1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lideSubTitleWidth">
    <vt:r8>9.80000019073486</vt:r8>
  </property>
  <property fmtid="{D5CDD505-2E9C-101B-9397-08002B2CF9AE}" pid="3" name="AutoPageNumberingON">
    <vt:bool>true</vt:bool>
  </property>
  <property fmtid="{D5CDD505-2E9C-101B-9397-08002B2CF9AE}" pid="4" name="TabStyleTOC">
    <vt:bool>false</vt:bool>
  </property>
  <property fmtid="{D5CDD505-2E9C-101B-9397-08002B2CF9AE}" pid="5" name="MediaServiceImageTags">
    <vt:lpwstr/>
  </property>
  <property fmtid="{D5CDD505-2E9C-101B-9397-08002B2CF9AE}" pid="6" name="ContentTypeId">
    <vt:lpwstr>0x0101001517B14D604B3B48B5D202D444E0E01D</vt:lpwstr>
  </property>
</Properties>
</file>